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.xml" ContentType="application/vnd.openxmlformats-officedocument.presentationml.tags+xml"/>
  <Override PartName="/ppt/notesSlides/notesSlide14.xml" ContentType="application/vnd.openxmlformats-officedocument.presentationml.notesSlide+xml"/>
  <Override PartName="/ppt/tags/tag2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notesMasterIdLst>
    <p:notesMasterId r:id="rId67"/>
  </p:notesMasterIdLst>
  <p:handoutMasterIdLst>
    <p:handoutMasterId r:id="rId68"/>
  </p:handoutMasterIdLst>
  <p:sldIdLst>
    <p:sldId id="371" r:id="rId6"/>
    <p:sldId id="260" r:id="rId7"/>
    <p:sldId id="523" r:id="rId8"/>
    <p:sldId id="525" r:id="rId9"/>
    <p:sldId id="2134805970" r:id="rId10"/>
    <p:sldId id="318" r:id="rId11"/>
    <p:sldId id="526" r:id="rId12"/>
    <p:sldId id="527" r:id="rId13"/>
    <p:sldId id="528" r:id="rId14"/>
    <p:sldId id="2134805417" r:id="rId15"/>
    <p:sldId id="302" r:id="rId16"/>
    <p:sldId id="498" r:id="rId17"/>
    <p:sldId id="375" r:id="rId18"/>
    <p:sldId id="529" r:id="rId19"/>
    <p:sldId id="530" r:id="rId20"/>
    <p:sldId id="378" r:id="rId21"/>
    <p:sldId id="2134805399" r:id="rId22"/>
    <p:sldId id="2134805968" r:id="rId23"/>
    <p:sldId id="2134805967" r:id="rId24"/>
    <p:sldId id="369" r:id="rId25"/>
    <p:sldId id="531" r:id="rId26"/>
    <p:sldId id="532" r:id="rId27"/>
    <p:sldId id="415" r:id="rId28"/>
    <p:sldId id="511" r:id="rId29"/>
    <p:sldId id="322" r:id="rId30"/>
    <p:sldId id="473" r:id="rId31"/>
    <p:sldId id="547" r:id="rId32"/>
    <p:sldId id="474" r:id="rId33"/>
    <p:sldId id="475" r:id="rId34"/>
    <p:sldId id="549" r:id="rId35"/>
    <p:sldId id="452" r:id="rId36"/>
    <p:sldId id="546" r:id="rId37"/>
    <p:sldId id="403" r:id="rId38"/>
    <p:sldId id="465" r:id="rId39"/>
    <p:sldId id="548" r:id="rId40"/>
    <p:sldId id="332" r:id="rId41"/>
    <p:sldId id="533" r:id="rId42"/>
    <p:sldId id="534" r:id="rId43"/>
    <p:sldId id="406" r:id="rId44"/>
    <p:sldId id="407" r:id="rId45"/>
    <p:sldId id="408" r:id="rId46"/>
    <p:sldId id="410" r:id="rId47"/>
    <p:sldId id="411" r:id="rId48"/>
    <p:sldId id="516" r:id="rId49"/>
    <p:sldId id="517" r:id="rId50"/>
    <p:sldId id="343" r:id="rId51"/>
    <p:sldId id="502" r:id="rId52"/>
    <p:sldId id="536" r:id="rId53"/>
    <p:sldId id="483" r:id="rId54"/>
    <p:sldId id="537" r:id="rId55"/>
    <p:sldId id="538" r:id="rId56"/>
    <p:sldId id="478" r:id="rId57"/>
    <p:sldId id="539" r:id="rId58"/>
    <p:sldId id="540" r:id="rId59"/>
    <p:sldId id="481" r:id="rId60"/>
    <p:sldId id="355" r:id="rId61"/>
    <p:sldId id="2134805400" r:id="rId62"/>
    <p:sldId id="2134805401" r:id="rId63"/>
    <p:sldId id="519" r:id="rId64"/>
    <p:sldId id="520" r:id="rId65"/>
    <p:sldId id="372" r:id="rId66"/>
  </p:sldIdLst>
  <p:sldSz cx="12192000" cy="6858000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4C08600-B375-4ADC-B3FC-1339CA00158D}" v="74" dt="2024-12-20T11:14:19.43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2716" autoAdjust="0"/>
    <p:restoredTop sz="95033" autoAdjust="0"/>
  </p:normalViewPr>
  <p:slideViewPr>
    <p:cSldViewPr snapToGrid="0" showGuides="1">
      <p:cViewPr>
        <p:scale>
          <a:sx n="60" d="100"/>
          <a:sy n="60" d="100"/>
        </p:scale>
        <p:origin x="612" y="140"/>
      </p:cViewPr>
      <p:guideLst>
        <p:guide orient="horz" pos="2183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2900"/>
    </p:cViewPr>
  </p:sorterViewPr>
  <p:notesViewPr>
    <p:cSldViewPr snapToGrid="0">
      <p:cViewPr varScale="1">
        <p:scale>
          <a:sx n="80" d="100"/>
          <a:sy n="80" d="100"/>
        </p:scale>
        <p:origin x="391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63" Type="http://schemas.openxmlformats.org/officeDocument/2006/relationships/slide" Target="slides/slide58.xml"/><Relationship Id="rId68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71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66" Type="http://schemas.openxmlformats.org/officeDocument/2006/relationships/slide" Target="slides/slide61.xml"/><Relationship Id="rId74" Type="http://schemas.microsoft.com/office/2015/10/relationships/revisionInfo" Target="revisionInfo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61" Type="http://schemas.openxmlformats.org/officeDocument/2006/relationships/slide" Target="slides/slide56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microsoft.com/office/2016/11/relationships/changesInfo" Target="changesInfos/changesInfo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slide" Target="slides/slide59.xml"/><Relationship Id="rId69" Type="http://schemas.openxmlformats.org/officeDocument/2006/relationships/presProps" Target="presProp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notesMaster" Target="notesMasters/notesMaster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oncef HADHRI" userId="895ef482-96ff-4dd4-9c74-0dc92131d96c" providerId="ADAL" clId="{F11B17EA-5B55-40F5-B7B2-2B6278F1A95C}"/>
    <pc:docChg chg="custSel modSld">
      <pc:chgData name="Moncef HADHRI" userId="895ef482-96ff-4dd4-9c74-0dc92131d96c" providerId="ADAL" clId="{F11B17EA-5B55-40F5-B7B2-2B6278F1A95C}" dt="2022-12-06T11:03:25.740" v="33" actId="1076"/>
      <pc:docMkLst>
        <pc:docMk/>
      </pc:docMkLst>
      <pc:sldChg chg="delSp modSp mod">
        <pc:chgData name="Moncef HADHRI" userId="895ef482-96ff-4dd4-9c74-0dc92131d96c" providerId="ADAL" clId="{F11B17EA-5B55-40F5-B7B2-2B6278F1A95C}" dt="2022-12-06T10:20:33.212" v="2" actId="1076"/>
        <pc:sldMkLst>
          <pc:docMk/>
          <pc:sldMk cId="3683067118" sldId="318"/>
        </pc:sldMkLst>
      </pc:sldChg>
      <pc:sldChg chg="delSp modSp mod">
        <pc:chgData name="Moncef HADHRI" userId="895ef482-96ff-4dd4-9c74-0dc92131d96c" providerId="ADAL" clId="{F11B17EA-5B55-40F5-B7B2-2B6278F1A95C}" dt="2022-12-06T10:24:50.819" v="23" actId="1076"/>
        <pc:sldMkLst>
          <pc:docMk/>
          <pc:sldMk cId="3840129972" sldId="526"/>
        </pc:sldMkLst>
      </pc:sldChg>
      <pc:sldChg chg="delSp modSp mod">
        <pc:chgData name="Moncef HADHRI" userId="895ef482-96ff-4dd4-9c74-0dc92131d96c" providerId="ADAL" clId="{F11B17EA-5B55-40F5-B7B2-2B6278F1A95C}" dt="2022-12-06T10:32:35.217" v="27" actId="1076"/>
        <pc:sldMkLst>
          <pc:docMk/>
          <pc:sldMk cId="611791896" sldId="527"/>
        </pc:sldMkLst>
      </pc:sldChg>
      <pc:sldChg chg="delSp modSp mod">
        <pc:chgData name="Moncef HADHRI" userId="895ef482-96ff-4dd4-9c74-0dc92131d96c" providerId="ADAL" clId="{F11B17EA-5B55-40F5-B7B2-2B6278F1A95C}" dt="2022-12-06T10:46:27.084" v="31" actId="1076"/>
        <pc:sldMkLst>
          <pc:docMk/>
          <pc:sldMk cId="4050344241" sldId="528"/>
        </pc:sldMkLst>
      </pc:sldChg>
      <pc:sldChg chg="delSp modSp mod">
        <pc:chgData name="Moncef HADHRI" userId="895ef482-96ff-4dd4-9c74-0dc92131d96c" providerId="ADAL" clId="{F11B17EA-5B55-40F5-B7B2-2B6278F1A95C}" dt="2022-12-06T11:03:25.740" v="33" actId="1076"/>
        <pc:sldMkLst>
          <pc:docMk/>
          <pc:sldMk cId="160286315" sldId="533"/>
        </pc:sldMkLst>
      </pc:sldChg>
    </pc:docChg>
  </pc:docChgLst>
  <pc:docChgLst>
    <pc:chgData name="HADHRI Moncef" userId="895ef482-96ff-4dd4-9c74-0dc92131d96c" providerId="ADAL" clId="{DC4C8E46-2EE3-4495-BB2E-C5CE97105787}"/>
    <pc:docChg chg="undo custSel addSld delSld modSld">
      <pc:chgData name="HADHRI Moncef" userId="895ef482-96ff-4dd4-9c74-0dc92131d96c" providerId="ADAL" clId="{DC4C8E46-2EE3-4495-BB2E-C5CE97105787}" dt="2023-02-23T14:18:26.364" v="4013" actId="14100"/>
      <pc:docMkLst>
        <pc:docMk/>
      </pc:docMkLst>
      <pc:sldChg chg="modTransition">
        <pc:chgData name="HADHRI Moncef" userId="895ef482-96ff-4dd4-9c74-0dc92131d96c" providerId="ADAL" clId="{DC4C8E46-2EE3-4495-BB2E-C5CE97105787}" dt="2023-02-17T12:12:19.966" v="3093"/>
        <pc:sldMkLst>
          <pc:docMk/>
          <pc:sldMk cId="2285206764" sldId="260"/>
        </pc:sldMkLst>
      </pc:sldChg>
      <pc:sldChg chg="modTransition">
        <pc:chgData name="HADHRI Moncef" userId="895ef482-96ff-4dd4-9c74-0dc92131d96c" providerId="ADAL" clId="{DC4C8E46-2EE3-4495-BB2E-C5CE97105787}" dt="2023-02-17T12:12:19.966" v="3093"/>
        <pc:sldMkLst>
          <pc:docMk/>
          <pc:sldMk cId="1007389210" sldId="302"/>
        </pc:sldMkLst>
      </pc:sldChg>
      <pc:sldChg chg="addSp delSp modSp mod modTransition">
        <pc:chgData name="HADHRI Moncef" userId="895ef482-96ff-4dd4-9c74-0dc92131d96c" providerId="ADAL" clId="{DC4C8E46-2EE3-4495-BB2E-C5CE97105787}" dt="2023-02-17T12:16:19.562" v="3161" actId="1076"/>
        <pc:sldMkLst>
          <pc:docMk/>
          <pc:sldMk cId="3683067118" sldId="318"/>
        </pc:sldMkLst>
      </pc:sldChg>
      <pc:sldChg chg="modTransition">
        <pc:chgData name="HADHRI Moncef" userId="895ef482-96ff-4dd4-9c74-0dc92131d96c" providerId="ADAL" clId="{DC4C8E46-2EE3-4495-BB2E-C5CE97105787}" dt="2023-02-17T12:12:19.966" v="3093"/>
        <pc:sldMkLst>
          <pc:docMk/>
          <pc:sldMk cId="3534331703" sldId="322"/>
        </pc:sldMkLst>
      </pc:sldChg>
      <pc:sldChg chg="modTransition">
        <pc:chgData name="HADHRI Moncef" userId="895ef482-96ff-4dd4-9c74-0dc92131d96c" providerId="ADAL" clId="{DC4C8E46-2EE3-4495-BB2E-C5CE97105787}" dt="2023-02-17T12:12:19.966" v="3093"/>
        <pc:sldMkLst>
          <pc:docMk/>
          <pc:sldMk cId="559897548" sldId="332"/>
        </pc:sldMkLst>
      </pc:sldChg>
      <pc:sldChg chg="modTransition">
        <pc:chgData name="HADHRI Moncef" userId="895ef482-96ff-4dd4-9c74-0dc92131d96c" providerId="ADAL" clId="{DC4C8E46-2EE3-4495-BB2E-C5CE97105787}" dt="2023-02-17T12:12:19.966" v="3093"/>
        <pc:sldMkLst>
          <pc:docMk/>
          <pc:sldMk cId="2810469070" sldId="343"/>
        </pc:sldMkLst>
      </pc:sldChg>
      <pc:sldChg chg="modTransition">
        <pc:chgData name="HADHRI Moncef" userId="895ef482-96ff-4dd4-9c74-0dc92131d96c" providerId="ADAL" clId="{DC4C8E46-2EE3-4495-BB2E-C5CE97105787}" dt="2023-02-17T12:12:19.966" v="3093"/>
        <pc:sldMkLst>
          <pc:docMk/>
          <pc:sldMk cId="3879549548" sldId="355"/>
        </pc:sldMkLst>
      </pc:sldChg>
      <pc:sldChg chg="modTransition">
        <pc:chgData name="HADHRI Moncef" userId="895ef482-96ff-4dd4-9c74-0dc92131d96c" providerId="ADAL" clId="{DC4C8E46-2EE3-4495-BB2E-C5CE97105787}" dt="2023-02-17T12:12:19.966" v="3093"/>
        <pc:sldMkLst>
          <pc:docMk/>
          <pc:sldMk cId="3100137643" sldId="369"/>
        </pc:sldMkLst>
      </pc:sldChg>
      <pc:sldChg chg="modSp mod modTransition">
        <pc:chgData name="HADHRI Moncef" userId="895ef482-96ff-4dd4-9c74-0dc92131d96c" providerId="ADAL" clId="{DC4C8E46-2EE3-4495-BB2E-C5CE97105787}" dt="2023-02-23T08:29:44.741" v="3950" actId="20577"/>
        <pc:sldMkLst>
          <pc:docMk/>
          <pc:sldMk cId="435617243" sldId="371"/>
        </pc:sldMkLst>
      </pc:sldChg>
      <pc:sldChg chg="modTransition">
        <pc:chgData name="HADHRI Moncef" userId="895ef482-96ff-4dd4-9c74-0dc92131d96c" providerId="ADAL" clId="{DC4C8E46-2EE3-4495-BB2E-C5CE97105787}" dt="2023-02-17T12:12:19.966" v="3093"/>
        <pc:sldMkLst>
          <pc:docMk/>
          <pc:sldMk cId="1920272730" sldId="372"/>
        </pc:sldMkLst>
      </pc:sldChg>
      <pc:sldChg chg="addSp delSp modSp mod modTransition">
        <pc:chgData name="HADHRI Moncef" userId="895ef482-96ff-4dd4-9c74-0dc92131d96c" providerId="ADAL" clId="{DC4C8E46-2EE3-4495-BB2E-C5CE97105787}" dt="2023-02-23T08:30:28.142" v="3955" actId="14100"/>
        <pc:sldMkLst>
          <pc:docMk/>
          <pc:sldMk cId="687316141" sldId="375"/>
        </pc:sldMkLst>
      </pc:sldChg>
      <pc:sldChg chg="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3203527764" sldId="378"/>
        </pc:sldMkLst>
      </pc:sldChg>
      <pc:sldChg chg="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3833533132" sldId="403"/>
        </pc:sldMkLst>
      </pc:sldChg>
      <pc:sldChg chg="addSp delSp modSp mod modTransition">
        <pc:chgData name="HADHRI Moncef" userId="895ef482-96ff-4dd4-9c74-0dc92131d96c" providerId="ADAL" clId="{DC4C8E46-2EE3-4495-BB2E-C5CE97105787}" dt="2023-02-23T14:09:55.976" v="3984" actId="1076"/>
        <pc:sldMkLst>
          <pc:docMk/>
          <pc:sldMk cId="3416576635" sldId="406"/>
        </pc:sldMkLst>
      </pc:sldChg>
      <pc:sldChg chg="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1697530786" sldId="407"/>
        </pc:sldMkLst>
      </pc:sldChg>
      <pc:sldChg chg="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3455755029" sldId="408"/>
        </pc:sldMkLst>
      </pc:sldChg>
      <pc:sldChg chg="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1207978756" sldId="410"/>
        </pc:sldMkLst>
      </pc:sldChg>
      <pc:sldChg chg="modSp mod modTransition">
        <pc:chgData name="HADHRI Moncef" userId="895ef482-96ff-4dd4-9c74-0dc92131d96c" providerId="ADAL" clId="{DC4C8E46-2EE3-4495-BB2E-C5CE97105787}" dt="2023-02-17T13:23:44.758" v="3335" actId="20577"/>
        <pc:sldMkLst>
          <pc:docMk/>
          <pc:sldMk cId="398650412" sldId="411"/>
        </pc:sldMkLst>
      </pc:sldChg>
      <pc:sldChg chg="addSp delSp modSp mod modTransition">
        <pc:chgData name="HADHRI Moncef" userId="895ef482-96ff-4dd4-9c74-0dc92131d96c" providerId="ADAL" clId="{DC4C8E46-2EE3-4495-BB2E-C5CE97105787}" dt="2023-02-22T16:06:22.635" v="3896" actId="20577"/>
        <pc:sldMkLst>
          <pc:docMk/>
          <pc:sldMk cId="1067430973" sldId="415"/>
        </pc:sldMkLst>
      </pc:sldChg>
      <pc:sldChg chg="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3486425364" sldId="431"/>
        </pc:sldMkLst>
      </pc:sldChg>
      <pc:sldChg chg="modSp mod modTransition">
        <pc:chgData name="HADHRI Moncef" userId="895ef482-96ff-4dd4-9c74-0dc92131d96c" providerId="ADAL" clId="{DC4C8E46-2EE3-4495-BB2E-C5CE97105787}" dt="2023-02-17T13:25:48.037" v="3434" actId="14100"/>
        <pc:sldMkLst>
          <pc:docMk/>
          <pc:sldMk cId="1348273151" sldId="432"/>
        </pc:sldMkLst>
      </pc:sldChg>
      <pc:sldChg chg="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4003818425" sldId="452"/>
        </pc:sldMkLst>
      </pc:sldChg>
      <pc:sldChg chg="addSp delSp modSp mod modTransition">
        <pc:chgData name="HADHRI Moncef" userId="895ef482-96ff-4dd4-9c74-0dc92131d96c" providerId="ADAL" clId="{DC4C8E46-2EE3-4495-BB2E-C5CE97105787}" dt="2023-02-22T16:08:27.020" v="3908" actId="20577"/>
        <pc:sldMkLst>
          <pc:docMk/>
          <pc:sldMk cId="2606274184" sldId="465"/>
        </pc:sldMkLst>
      </pc:sldChg>
      <pc:sldChg chg="addSp delSp 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4223220080" sldId="473"/>
        </pc:sldMkLst>
      </pc:sldChg>
      <pc:sldChg chg="modSp mod modTransition">
        <pc:chgData name="HADHRI Moncef" userId="895ef482-96ff-4dd4-9c74-0dc92131d96c" providerId="ADAL" clId="{DC4C8E46-2EE3-4495-BB2E-C5CE97105787}" dt="2023-02-22T16:09:00.548" v="3934" actId="1035"/>
        <pc:sldMkLst>
          <pc:docMk/>
          <pc:sldMk cId="696988029" sldId="474"/>
        </pc:sldMkLst>
      </pc:sldChg>
      <pc:sldChg chg="addSp delSp modSp mod modTransition">
        <pc:chgData name="HADHRI Moncef" userId="895ef482-96ff-4dd4-9c74-0dc92131d96c" providerId="ADAL" clId="{DC4C8E46-2EE3-4495-BB2E-C5CE97105787}" dt="2023-02-17T13:30:09.778" v="3629" actId="14100"/>
        <pc:sldMkLst>
          <pc:docMk/>
          <pc:sldMk cId="1483498060" sldId="475"/>
        </pc:sldMkLst>
      </pc:sldChg>
      <pc:sldChg chg="addSp delSp 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2264595889" sldId="478"/>
        </pc:sldMkLst>
      </pc:sldChg>
      <pc:sldChg chg="addSp delSp modSp mod modTransition">
        <pc:chgData name="HADHRI Moncef" userId="895ef482-96ff-4dd4-9c74-0dc92131d96c" providerId="ADAL" clId="{DC4C8E46-2EE3-4495-BB2E-C5CE97105787}" dt="2023-02-17T13:25:14.733" v="3415" actId="1035"/>
        <pc:sldMkLst>
          <pc:docMk/>
          <pc:sldMk cId="1623204966" sldId="481"/>
        </pc:sldMkLst>
      </pc:sldChg>
      <pc:sldChg chg="addSp delSp 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3050253954" sldId="483"/>
        </pc:sldMkLst>
      </pc:sldChg>
      <pc:sldChg chg="addSp delSp modSp mod modTransition">
        <pc:chgData name="HADHRI Moncef" userId="895ef482-96ff-4dd4-9c74-0dc92131d96c" providerId="ADAL" clId="{DC4C8E46-2EE3-4495-BB2E-C5CE97105787}" dt="2023-02-23T14:14:29.279" v="3995" actId="1076"/>
        <pc:sldMkLst>
          <pc:docMk/>
          <pc:sldMk cId="3842426781" sldId="498"/>
        </pc:sldMkLst>
      </pc:sldChg>
      <pc:sldChg chg="addSp delSp 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3132958973" sldId="502"/>
        </pc:sldMkLst>
      </pc:sldChg>
      <pc:sldChg chg="addSp delSp modSp mod modTransition">
        <pc:chgData name="HADHRI Moncef" userId="895ef482-96ff-4dd4-9c74-0dc92131d96c" providerId="ADAL" clId="{DC4C8E46-2EE3-4495-BB2E-C5CE97105787}" dt="2023-02-23T14:08:07.446" v="3979" actId="1076"/>
        <pc:sldMkLst>
          <pc:docMk/>
          <pc:sldMk cId="4181001190" sldId="506"/>
        </pc:sldMkLst>
      </pc:sldChg>
      <pc:sldChg chg="modSp mod modTransition">
        <pc:chgData name="HADHRI Moncef" userId="895ef482-96ff-4dd4-9c74-0dc92131d96c" providerId="ADAL" clId="{DC4C8E46-2EE3-4495-BB2E-C5CE97105787}" dt="2023-02-17T13:26:38.561" v="3495" actId="20577"/>
        <pc:sldMkLst>
          <pc:docMk/>
          <pc:sldMk cId="3951615262" sldId="508"/>
        </pc:sldMkLst>
      </pc:sldChg>
      <pc:sldChg chg="addSp delSp modSp del mod">
        <pc:chgData name="HADHRI Moncef" userId="895ef482-96ff-4dd4-9c74-0dc92131d96c" providerId="ADAL" clId="{DC4C8E46-2EE3-4495-BB2E-C5CE97105787}" dt="2023-02-03T15:52:41.593" v="2575" actId="47"/>
        <pc:sldMkLst>
          <pc:docMk/>
          <pc:sldMk cId="405463073" sldId="510"/>
        </pc:sldMkLst>
      </pc:sldChg>
      <pc:sldChg chg="modSp mod modTransition">
        <pc:chgData name="HADHRI Moncef" userId="895ef482-96ff-4dd4-9c74-0dc92131d96c" providerId="ADAL" clId="{DC4C8E46-2EE3-4495-BB2E-C5CE97105787}" dt="2023-02-22T16:05:10.771" v="3871" actId="20577"/>
        <pc:sldMkLst>
          <pc:docMk/>
          <pc:sldMk cId="1376106718" sldId="511"/>
        </pc:sldMkLst>
      </pc:sldChg>
      <pc:sldChg chg="modSp mod modTransition">
        <pc:chgData name="HADHRI Moncef" userId="895ef482-96ff-4dd4-9c74-0dc92131d96c" providerId="ADAL" clId="{DC4C8E46-2EE3-4495-BB2E-C5CE97105787}" dt="2023-02-17T13:27:46.704" v="3538" actId="20577"/>
        <pc:sldMkLst>
          <pc:docMk/>
          <pc:sldMk cId="1361385511" sldId="514"/>
        </pc:sldMkLst>
      </pc:sldChg>
      <pc:sldChg chg="addSp delSp modSp mod modTransition">
        <pc:chgData name="HADHRI Moncef" userId="895ef482-96ff-4dd4-9c74-0dc92131d96c" providerId="ADAL" clId="{DC4C8E46-2EE3-4495-BB2E-C5CE97105787}" dt="2023-02-22T16:12:49.539" v="3944" actId="1076"/>
        <pc:sldMkLst>
          <pc:docMk/>
          <pc:sldMk cId="4037864099" sldId="516"/>
        </pc:sldMkLst>
      </pc:sldChg>
      <pc:sldChg chg="modSp mod modTransition">
        <pc:chgData name="HADHRI Moncef" userId="895ef482-96ff-4dd4-9c74-0dc92131d96c" providerId="ADAL" clId="{DC4C8E46-2EE3-4495-BB2E-C5CE97105787}" dt="2023-02-17T13:24:15.044" v="3363" actId="1035"/>
        <pc:sldMkLst>
          <pc:docMk/>
          <pc:sldMk cId="1410458262" sldId="517"/>
        </pc:sldMkLst>
      </pc:sldChg>
      <pc:sldChg chg="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2337721770" sldId="519"/>
        </pc:sldMkLst>
      </pc:sldChg>
      <pc:sldChg chg="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3995611519" sldId="520"/>
        </pc:sldMkLst>
      </pc:sldChg>
      <pc:sldChg chg="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1441936261" sldId="523"/>
        </pc:sldMkLst>
      </pc:sldChg>
      <pc:sldChg chg="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3652464793" sldId="524"/>
        </pc:sldMkLst>
      </pc:sldChg>
      <pc:sldChg chg="addSp delSp 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1797321108" sldId="525"/>
        </pc:sldMkLst>
      </pc:sldChg>
      <pc:sldChg chg="addSp delSp modSp mod modTransition">
        <pc:chgData name="HADHRI Moncef" userId="895ef482-96ff-4dd4-9c74-0dc92131d96c" providerId="ADAL" clId="{DC4C8E46-2EE3-4495-BB2E-C5CE97105787}" dt="2023-02-23T14:12:27.043" v="3990" actId="1076"/>
        <pc:sldMkLst>
          <pc:docMk/>
          <pc:sldMk cId="3840129972" sldId="526"/>
        </pc:sldMkLst>
      </pc:sldChg>
      <pc:sldChg chg="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611791896" sldId="527"/>
        </pc:sldMkLst>
      </pc:sldChg>
      <pc:sldChg chg="modSp mod modTransition">
        <pc:chgData name="HADHRI Moncef" userId="895ef482-96ff-4dd4-9c74-0dc92131d96c" providerId="ADAL" clId="{DC4C8E46-2EE3-4495-BB2E-C5CE97105787}" dt="2023-02-22T15:55:20.920" v="3782" actId="20577"/>
        <pc:sldMkLst>
          <pc:docMk/>
          <pc:sldMk cId="4050344241" sldId="528"/>
        </pc:sldMkLst>
      </pc:sldChg>
      <pc:sldChg chg="addSp delSp modSp mod modTransition">
        <pc:chgData name="HADHRI Moncef" userId="895ef482-96ff-4dd4-9c74-0dc92131d96c" providerId="ADAL" clId="{DC4C8E46-2EE3-4495-BB2E-C5CE97105787}" dt="2023-02-23T14:15:22.676" v="4002" actId="1076"/>
        <pc:sldMkLst>
          <pc:docMk/>
          <pc:sldMk cId="3970380033" sldId="529"/>
        </pc:sldMkLst>
      </pc:sldChg>
      <pc:sldChg chg="addSp delSp modSp mod modTransition">
        <pc:chgData name="HADHRI Moncef" userId="895ef482-96ff-4dd4-9c74-0dc92131d96c" providerId="ADAL" clId="{DC4C8E46-2EE3-4495-BB2E-C5CE97105787}" dt="2023-02-22T16:01:42.165" v="3802" actId="14100"/>
        <pc:sldMkLst>
          <pc:docMk/>
          <pc:sldMk cId="2267228707" sldId="530"/>
        </pc:sldMkLst>
      </pc:sldChg>
      <pc:sldChg chg="addSp delSp modSp mod modTransition">
        <pc:chgData name="HADHRI Moncef" userId="895ef482-96ff-4dd4-9c74-0dc92131d96c" providerId="ADAL" clId="{DC4C8E46-2EE3-4495-BB2E-C5CE97105787}" dt="2023-02-23T14:18:26.364" v="4013" actId="14100"/>
        <pc:sldMkLst>
          <pc:docMk/>
          <pc:sldMk cId="399590516" sldId="531"/>
        </pc:sldMkLst>
      </pc:sldChg>
      <pc:sldChg chg="addSp delSp 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1113706935" sldId="532"/>
        </pc:sldMkLst>
      </pc:sldChg>
      <pc:sldChg chg="addSp delSp modSp mod modTransition">
        <pc:chgData name="HADHRI Moncef" userId="895ef482-96ff-4dd4-9c74-0dc92131d96c" providerId="ADAL" clId="{DC4C8E46-2EE3-4495-BB2E-C5CE97105787}" dt="2023-02-17T13:28:38.277" v="3563" actId="1035"/>
        <pc:sldMkLst>
          <pc:docMk/>
          <pc:sldMk cId="160286315" sldId="533"/>
        </pc:sldMkLst>
      </pc:sldChg>
      <pc:sldChg chg="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3408810239" sldId="534"/>
        </pc:sldMkLst>
      </pc:sldChg>
      <pc:sldChg chg="addSp delSp 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1580970320" sldId="536"/>
        </pc:sldMkLst>
      </pc:sldChg>
      <pc:sldChg chg="addSp delSp 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3992291547" sldId="537"/>
        </pc:sldMkLst>
      </pc:sldChg>
      <pc:sldChg chg="addSp delSp modSp mod modTransition">
        <pc:chgData name="HADHRI Moncef" userId="895ef482-96ff-4dd4-9c74-0dc92131d96c" providerId="ADAL" clId="{DC4C8E46-2EE3-4495-BB2E-C5CE97105787}" dt="2023-02-17T13:24:29.402" v="3398" actId="1035"/>
        <pc:sldMkLst>
          <pc:docMk/>
          <pc:sldMk cId="4234730277" sldId="538"/>
        </pc:sldMkLst>
      </pc:sldChg>
      <pc:sldChg chg="addSp delSp 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4125945156" sldId="539"/>
        </pc:sldMkLst>
      </pc:sldChg>
      <pc:sldChg chg="addSp delSp modSp mod modTransition">
        <pc:chgData name="HADHRI Moncef" userId="895ef482-96ff-4dd4-9c74-0dc92131d96c" providerId="ADAL" clId="{DC4C8E46-2EE3-4495-BB2E-C5CE97105787}" dt="2023-02-22T16:15:06.984" v="3945" actId="113"/>
        <pc:sldMkLst>
          <pc:docMk/>
          <pc:sldMk cId="1691932536" sldId="540"/>
        </pc:sldMkLst>
      </pc:sldChg>
      <pc:sldChg chg="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3458925768" sldId="543"/>
        </pc:sldMkLst>
      </pc:sldChg>
      <pc:sldChg chg="addSp delSp modSp mod modTransition">
        <pc:chgData name="HADHRI Moncef" userId="895ef482-96ff-4dd4-9c74-0dc92131d96c" providerId="ADAL" clId="{DC4C8E46-2EE3-4495-BB2E-C5CE97105787}" dt="2023-02-22T16:07:48.295" v="3901" actId="1076"/>
        <pc:sldMkLst>
          <pc:docMk/>
          <pc:sldMk cId="2969974098" sldId="546"/>
        </pc:sldMkLst>
      </pc:sldChg>
      <pc:sldChg chg="modSp mod modTransition">
        <pc:chgData name="HADHRI Moncef" userId="895ef482-96ff-4dd4-9c74-0dc92131d96c" providerId="ADAL" clId="{DC4C8E46-2EE3-4495-BB2E-C5CE97105787}" dt="2023-02-22T16:06:16.161" v="3893" actId="20577"/>
        <pc:sldMkLst>
          <pc:docMk/>
          <pc:sldMk cId="4149952134" sldId="547"/>
        </pc:sldMkLst>
      </pc:sldChg>
      <pc:sldChg chg="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2657724479" sldId="548"/>
        </pc:sldMkLst>
      </pc:sldChg>
      <pc:sldChg chg="addSp delSp modSp mod modTransition">
        <pc:chgData name="HADHRI Moncef" userId="895ef482-96ff-4dd4-9c74-0dc92131d96c" providerId="ADAL" clId="{DC4C8E46-2EE3-4495-BB2E-C5CE97105787}" dt="2023-02-22T16:08:42.731" v="3917" actId="14100"/>
        <pc:sldMkLst>
          <pc:docMk/>
          <pc:sldMk cId="4068901997" sldId="549"/>
        </pc:sldMkLst>
      </pc:sldChg>
      <pc:sldChg chg="addSp delSp modSp mod modTransition">
        <pc:chgData name="HADHRI Moncef" userId="895ef482-96ff-4dd4-9c74-0dc92131d96c" providerId="ADAL" clId="{DC4C8E46-2EE3-4495-BB2E-C5CE97105787}" dt="2023-02-22T16:10:16.295" v="3939" actId="14100"/>
        <pc:sldMkLst>
          <pc:docMk/>
          <pc:sldMk cId="2491726269" sldId="2134805399"/>
        </pc:sldMkLst>
      </pc:sldChg>
      <pc:sldChg chg="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2170594155" sldId="2134805400"/>
        </pc:sldMkLst>
      </pc:sldChg>
      <pc:sldChg chg="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1990773259" sldId="2134805401"/>
        </pc:sldMkLst>
      </pc:sldChg>
      <pc:sldChg chg="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2818283143" sldId="2134805402"/>
        </pc:sldMkLst>
      </pc:sldChg>
      <pc:sldChg chg="modSp mod modTransition">
        <pc:chgData name="HADHRI Moncef" userId="895ef482-96ff-4dd4-9c74-0dc92131d96c" providerId="ADAL" clId="{DC4C8E46-2EE3-4495-BB2E-C5CE97105787}" dt="2023-02-17T13:26:25.465" v="3493" actId="14100"/>
        <pc:sldMkLst>
          <pc:docMk/>
          <pc:sldMk cId="2844338126" sldId="2134805403"/>
        </pc:sldMkLst>
      </pc:sldChg>
      <pc:sldChg chg="addSp delSp modSp add del mod">
        <pc:chgData name="HADHRI Moncef" userId="895ef482-96ff-4dd4-9c74-0dc92131d96c" providerId="ADAL" clId="{DC4C8E46-2EE3-4495-BB2E-C5CE97105787}" dt="2023-02-17T10:13:54.358" v="2671" actId="47"/>
        <pc:sldMkLst>
          <pc:docMk/>
          <pc:sldMk cId="1583848708" sldId="2134805404"/>
        </pc:sldMkLst>
      </pc:sldChg>
      <pc:sldChg chg="addSp delSp modSp add del mod">
        <pc:chgData name="HADHRI Moncef" userId="895ef482-96ff-4dd4-9c74-0dc92131d96c" providerId="ADAL" clId="{DC4C8E46-2EE3-4495-BB2E-C5CE97105787}" dt="2023-02-17T12:08:02.277" v="3065" actId="47"/>
        <pc:sldMkLst>
          <pc:docMk/>
          <pc:sldMk cId="1667690825" sldId="2134805405"/>
        </pc:sldMkLst>
      </pc:sldChg>
      <pc:sldChg chg="addSp delSp modSp add del mod modTransition">
        <pc:chgData name="HADHRI Moncef" userId="895ef482-96ff-4dd4-9c74-0dc92131d96c" providerId="ADAL" clId="{DC4C8E46-2EE3-4495-BB2E-C5CE97105787}" dt="2023-02-23T08:35:56.192" v="3956" actId="1076"/>
        <pc:sldMkLst>
          <pc:docMk/>
          <pc:sldMk cId="579598447" sldId="2134805417"/>
        </pc:sldMkLst>
      </pc:sldChg>
      <pc:sldChg chg="add del">
        <pc:chgData name="HADHRI Moncef" userId="895ef482-96ff-4dd4-9c74-0dc92131d96c" providerId="ADAL" clId="{DC4C8E46-2EE3-4495-BB2E-C5CE97105787}" dt="2023-02-03T15:52:43.480" v="2576" actId="47"/>
        <pc:sldMkLst>
          <pc:docMk/>
          <pc:sldMk cId="2228358085" sldId="2134805418"/>
        </pc:sldMkLst>
      </pc:sldChg>
    </pc:docChg>
  </pc:docChgLst>
  <pc:docChgLst>
    <pc:chgData name="HADHRI Moncef" userId="895ef482-96ff-4dd4-9c74-0dc92131d96c" providerId="ADAL" clId="{90F26BAA-5BAC-46A7-9021-6505D4ED823C}"/>
    <pc:docChg chg="addSld modSld">
      <pc:chgData name="HADHRI Moncef" userId="895ef482-96ff-4dd4-9c74-0dc92131d96c" providerId="ADAL" clId="{90F26BAA-5BAC-46A7-9021-6505D4ED823C}" dt="2024-05-15T07:45:13.657" v="13" actId="20577"/>
      <pc:docMkLst>
        <pc:docMk/>
      </pc:docMkLst>
      <pc:sldChg chg="modSp mod">
        <pc:chgData name="HADHRI Moncef" userId="895ef482-96ff-4dd4-9c74-0dc92131d96c" providerId="ADAL" clId="{90F26BAA-5BAC-46A7-9021-6505D4ED823C}" dt="2024-05-06T13:54:22.672" v="2" actId="1076"/>
        <pc:sldMkLst>
          <pc:docMk/>
          <pc:sldMk cId="696988029" sldId="474"/>
        </pc:sldMkLst>
      </pc:sldChg>
      <pc:sldChg chg="modSp mod">
        <pc:chgData name="HADHRI Moncef" userId="895ef482-96ff-4dd4-9c74-0dc92131d96c" providerId="ADAL" clId="{90F26BAA-5BAC-46A7-9021-6505D4ED823C}" dt="2024-05-15T07:45:13.657" v="13" actId="20577"/>
        <pc:sldMkLst>
          <pc:docMk/>
          <pc:sldMk cId="1691932536" sldId="540"/>
        </pc:sldMkLst>
      </pc:sldChg>
      <pc:sldChg chg="modSp add mod">
        <pc:chgData name="HADHRI Moncef" userId="895ef482-96ff-4dd4-9c74-0dc92131d96c" providerId="ADAL" clId="{90F26BAA-5BAC-46A7-9021-6505D4ED823C}" dt="2024-02-22T12:08:35.120" v="1" actId="13926"/>
        <pc:sldMkLst>
          <pc:docMk/>
          <pc:sldMk cId="1782097978" sldId="2134805418"/>
        </pc:sldMkLst>
      </pc:sldChg>
    </pc:docChg>
  </pc:docChgLst>
  <pc:docChgLst>
    <pc:chgData name="Moncef HADHRI" userId="895ef482-96ff-4dd4-9c74-0dc92131d96c" providerId="ADAL" clId="{DC4C8E46-2EE3-4495-BB2E-C5CE97105787}"/>
    <pc:docChg chg="addSld delSld modSld">
      <pc:chgData name="Moncef HADHRI" userId="895ef482-96ff-4dd4-9c74-0dc92131d96c" providerId="ADAL" clId="{DC4C8E46-2EE3-4495-BB2E-C5CE97105787}" dt="2023-02-09T12:49:36.820" v="16" actId="47"/>
      <pc:docMkLst>
        <pc:docMk/>
      </pc:docMkLst>
      <pc:sldChg chg="add">
        <pc:chgData name="Moncef HADHRI" userId="895ef482-96ff-4dd4-9c74-0dc92131d96c" providerId="ADAL" clId="{DC4C8E46-2EE3-4495-BB2E-C5CE97105787}" dt="2023-02-09T12:49:32.925" v="15"/>
        <pc:sldMkLst>
          <pc:docMk/>
          <pc:sldMk cId="3486425364" sldId="431"/>
        </pc:sldMkLst>
      </pc:sldChg>
      <pc:sldChg chg="modSp mod">
        <pc:chgData name="Moncef HADHRI" userId="895ef482-96ff-4dd4-9c74-0dc92131d96c" providerId="ADAL" clId="{DC4C8E46-2EE3-4495-BB2E-C5CE97105787}" dt="2023-02-09T12:39:14.153" v="14" actId="1036"/>
        <pc:sldMkLst>
          <pc:docMk/>
          <pc:sldMk cId="1410458262" sldId="517"/>
        </pc:sldMkLst>
      </pc:sldChg>
      <pc:sldChg chg="modSp mod">
        <pc:chgData name="Moncef HADHRI" userId="895ef482-96ff-4dd4-9c74-0dc92131d96c" providerId="ADAL" clId="{DC4C8E46-2EE3-4495-BB2E-C5CE97105787}" dt="2023-02-09T12:16:47.440" v="7" actId="20577"/>
        <pc:sldMkLst>
          <pc:docMk/>
          <pc:sldMk cId="2267228707" sldId="530"/>
        </pc:sldMkLst>
      </pc:sldChg>
      <pc:sldChg chg="del">
        <pc:chgData name="Moncef HADHRI" userId="895ef482-96ff-4dd4-9c74-0dc92131d96c" providerId="ADAL" clId="{DC4C8E46-2EE3-4495-BB2E-C5CE97105787}" dt="2023-02-09T12:49:36.820" v="16" actId="47"/>
        <pc:sldMkLst>
          <pc:docMk/>
          <pc:sldMk cId="1239266114" sldId="541"/>
        </pc:sldMkLst>
      </pc:sldChg>
      <pc:sldChg chg="del">
        <pc:chgData name="Moncef HADHRI" userId="895ef482-96ff-4dd4-9c74-0dc92131d96c" providerId="ADAL" clId="{DC4C8E46-2EE3-4495-BB2E-C5CE97105787}" dt="2023-02-09T12:49:36.820" v="16" actId="47"/>
        <pc:sldMkLst>
          <pc:docMk/>
          <pc:sldMk cId="1153277864" sldId="542"/>
        </pc:sldMkLst>
      </pc:sldChg>
    </pc:docChg>
  </pc:docChgLst>
  <pc:docChgLst>
    <pc:chgData name="HADHRI Moncef" userId="895ef482-96ff-4dd4-9c74-0dc92131d96c" providerId="ADAL" clId="{05BB7CD5-08BF-4478-9E84-E0BBDCE07E12}"/>
    <pc:docChg chg="undo custSel modSld">
      <pc:chgData name="HADHRI Moncef" userId="895ef482-96ff-4dd4-9c74-0dc92131d96c" providerId="ADAL" clId="{05BB7CD5-08BF-4478-9E84-E0BBDCE07E12}" dt="2023-10-20T09:11:37.625" v="84"/>
      <pc:docMkLst>
        <pc:docMk/>
      </pc:docMkLst>
      <pc:sldChg chg="modSp mod">
        <pc:chgData name="HADHRI Moncef" userId="895ef482-96ff-4dd4-9c74-0dc92131d96c" providerId="ADAL" clId="{05BB7CD5-08BF-4478-9E84-E0BBDCE07E12}" dt="2023-10-20T09:08:53.690" v="0" actId="6549"/>
        <pc:sldMkLst>
          <pc:docMk/>
          <pc:sldMk cId="3486425364" sldId="431"/>
        </pc:sldMkLst>
      </pc:sldChg>
      <pc:sldChg chg="addSp modSp">
        <pc:chgData name="HADHRI Moncef" userId="895ef482-96ff-4dd4-9c74-0dc92131d96c" providerId="ADAL" clId="{05BB7CD5-08BF-4478-9E84-E0BBDCE07E12}" dt="2023-10-20T09:11:27.185" v="81"/>
        <pc:sldMkLst>
          <pc:docMk/>
          <pc:sldMk cId="4003818425" sldId="452"/>
        </pc:sldMkLst>
      </pc:sldChg>
      <pc:sldChg chg="addSp modSp">
        <pc:chgData name="HADHRI Moncef" userId="895ef482-96ff-4dd4-9c74-0dc92131d96c" providerId="ADAL" clId="{05BB7CD5-08BF-4478-9E84-E0BBDCE07E12}" dt="2023-10-20T09:11:32.762" v="83"/>
        <pc:sldMkLst>
          <pc:docMk/>
          <pc:sldMk cId="2606274184" sldId="465"/>
        </pc:sldMkLst>
      </pc:sldChg>
      <pc:sldChg chg="addSp modSp">
        <pc:chgData name="HADHRI Moncef" userId="895ef482-96ff-4dd4-9c74-0dc92131d96c" providerId="ADAL" clId="{05BB7CD5-08BF-4478-9E84-E0BBDCE07E12}" dt="2023-10-20T09:11:19.724" v="76"/>
        <pc:sldMkLst>
          <pc:docMk/>
          <pc:sldMk cId="4223220080" sldId="473"/>
        </pc:sldMkLst>
      </pc:sldChg>
      <pc:sldChg chg="addSp modSp">
        <pc:chgData name="HADHRI Moncef" userId="895ef482-96ff-4dd4-9c74-0dc92131d96c" providerId="ADAL" clId="{05BB7CD5-08BF-4478-9E84-E0BBDCE07E12}" dt="2023-10-20T09:11:22.568" v="78"/>
        <pc:sldMkLst>
          <pc:docMk/>
          <pc:sldMk cId="696988029" sldId="474"/>
        </pc:sldMkLst>
      </pc:sldChg>
      <pc:sldChg chg="addSp modSp">
        <pc:chgData name="HADHRI Moncef" userId="895ef482-96ff-4dd4-9c74-0dc92131d96c" providerId="ADAL" clId="{05BB7CD5-08BF-4478-9E84-E0BBDCE07E12}" dt="2023-10-20T09:11:24.012" v="79"/>
        <pc:sldMkLst>
          <pc:docMk/>
          <pc:sldMk cId="1483498060" sldId="475"/>
        </pc:sldMkLst>
      </pc:sldChg>
      <pc:sldChg chg="modSp mod">
        <pc:chgData name="HADHRI Moncef" userId="895ef482-96ff-4dd4-9c74-0dc92131d96c" providerId="ADAL" clId="{05BB7CD5-08BF-4478-9E84-E0BBDCE07E12}" dt="2023-10-20T09:09:08.439" v="4" actId="6549"/>
        <pc:sldMkLst>
          <pc:docMk/>
          <pc:sldMk cId="3951615262" sldId="508"/>
        </pc:sldMkLst>
      </pc:sldChg>
      <pc:sldChg chg="modSp mod">
        <pc:chgData name="HADHRI Moncef" userId="895ef482-96ff-4dd4-9c74-0dc92131d96c" providerId="ADAL" clId="{05BB7CD5-08BF-4478-9E84-E0BBDCE07E12}" dt="2023-10-20T09:09:11.813" v="5" actId="6549"/>
        <pc:sldMkLst>
          <pc:docMk/>
          <pc:sldMk cId="1361385511" sldId="514"/>
        </pc:sldMkLst>
      </pc:sldChg>
      <pc:sldChg chg="modSp mod">
        <pc:chgData name="HADHRI Moncef" userId="895ef482-96ff-4dd4-9c74-0dc92131d96c" providerId="ADAL" clId="{05BB7CD5-08BF-4478-9E84-E0BBDCE07E12}" dt="2023-10-20T09:08:57.130" v="1" actId="6549"/>
        <pc:sldMkLst>
          <pc:docMk/>
          <pc:sldMk cId="3458925768" sldId="543"/>
        </pc:sldMkLst>
      </pc:sldChg>
      <pc:sldChg chg="addSp modSp">
        <pc:chgData name="HADHRI Moncef" userId="895ef482-96ff-4dd4-9c74-0dc92131d96c" providerId="ADAL" clId="{05BB7CD5-08BF-4478-9E84-E0BBDCE07E12}" dt="2023-10-20T09:11:28.739" v="82"/>
        <pc:sldMkLst>
          <pc:docMk/>
          <pc:sldMk cId="2969974098" sldId="546"/>
        </pc:sldMkLst>
      </pc:sldChg>
      <pc:sldChg chg="addSp modSp">
        <pc:chgData name="HADHRI Moncef" userId="895ef482-96ff-4dd4-9c74-0dc92131d96c" providerId="ADAL" clId="{05BB7CD5-08BF-4478-9E84-E0BBDCE07E12}" dt="2023-10-20T09:11:21.201" v="77"/>
        <pc:sldMkLst>
          <pc:docMk/>
          <pc:sldMk cId="4149952134" sldId="547"/>
        </pc:sldMkLst>
      </pc:sldChg>
      <pc:sldChg chg="addSp modSp">
        <pc:chgData name="HADHRI Moncef" userId="895ef482-96ff-4dd4-9c74-0dc92131d96c" providerId="ADAL" clId="{05BB7CD5-08BF-4478-9E84-E0BBDCE07E12}" dt="2023-10-20T09:11:37.625" v="84"/>
        <pc:sldMkLst>
          <pc:docMk/>
          <pc:sldMk cId="2657724479" sldId="548"/>
        </pc:sldMkLst>
      </pc:sldChg>
      <pc:sldChg chg="addSp modSp">
        <pc:chgData name="HADHRI Moncef" userId="895ef482-96ff-4dd4-9c74-0dc92131d96c" providerId="ADAL" clId="{05BB7CD5-08BF-4478-9E84-E0BBDCE07E12}" dt="2023-10-20T09:11:25.457" v="80"/>
        <pc:sldMkLst>
          <pc:docMk/>
          <pc:sldMk cId="4068901997" sldId="549"/>
        </pc:sldMkLst>
      </pc:sldChg>
      <pc:sldChg chg="modSp mod">
        <pc:chgData name="HADHRI Moncef" userId="895ef482-96ff-4dd4-9c74-0dc92131d96c" providerId="ADAL" clId="{05BB7CD5-08BF-4478-9E84-E0BBDCE07E12}" dt="2023-10-20T09:08:59.548" v="2" actId="6549"/>
        <pc:sldMkLst>
          <pc:docMk/>
          <pc:sldMk cId="2818283143" sldId="2134805402"/>
        </pc:sldMkLst>
      </pc:sldChg>
      <pc:sldChg chg="modSp mod">
        <pc:chgData name="HADHRI Moncef" userId="895ef482-96ff-4dd4-9c74-0dc92131d96c" providerId="ADAL" clId="{05BB7CD5-08BF-4478-9E84-E0BBDCE07E12}" dt="2023-10-20T09:09:04.904" v="3" actId="6549"/>
        <pc:sldMkLst>
          <pc:docMk/>
          <pc:sldMk cId="2844338126" sldId="2134805403"/>
        </pc:sldMkLst>
      </pc:sldChg>
      <pc:sldChg chg="addSp delSp modSp mod">
        <pc:chgData name="HADHRI Moncef" userId="895ef482-96ff-4dd4-9c74-0dc92131d96c" providerId="ADAL" clId="{05BB7CD5-08BF-4478-9E84-E0BBDCE07E12}" dt="2023-10-20T09:11:07.019" v="75" actId="14100"/>
        <pc:sldMkLst>
          <pc:docMk/>
          <pc:sldMk cId="579598447" sldId="2134805417"/>
        </pc:sldMkLst>
      </pc:sldChg>
    </pc:docChg>
  </pc:docChgLst>
  <pc:docChgLst>
    <pc:chgData name="HADHRI Moncef" userId="895ef482-96ff-4dd4-9c74-0dc92131d96c" providerId="ADAL" clId="{BEA30F21-6291-40A8-8741-0FD0EE5AE298}"/>
    <pc:docChg chg="undo custSel addSld delSld modSld sldOrd">
      <pc:chgData name="HADHRI Moncef" userId="895ef482-96ff-4dd4-9c74-0dc92131d96c" providerId="ADAL" clId="{BEA30F21-6291-40A8-8741-0FD0EE5AE298}" dt="2024-07-04T11:58:05.893" v="191"/>
      <pc:docMkLst>
        <pc:docMk/>
      </pc:docMkLst>
      <pc:sldChg chg="modSp mod">
        <pc:chgData name="HADHRI Moncef" userId="895ef482-96ff-4dd4-9c74-0dc92131d96c" providerId="ADAL" clId="{BEA30F21-6291-40A8-8741-0FD0EE5AE298}" dt="2024-07-02T10:47:53.279" v="2" actId="207"/>
        <pc:sldMkLst>
          <pc:docMk/>
          <pc:sldMk cId="435617243" sldId="371"/>
        </pc:sldMkLst>
      </pc:sldChg>
      <pc:sldChg chg="addSp modSp">
        <pc:chgData name="HADHRI Moncef" userId="895ef482-96ff-4dd4-9c74-0dc92131d96c" providerId="ADAL" clId="{BEA30F21-6291-40A8-8741-0FD0EE5AE298}" dt="2024-07-04T11:58:02.426" v="190"/>
        <pc:sldMkLst>
          <pc:docMk/>
          <pc:sldMk cId="3833533132" sldId="403"/>
        </pc:sldMkLst>
      </pc:sldChg>
      <pc:sldChg chg="addSp modSp mod">
        <pc:chgData name="HADHRI Moncef" userId="895ef482-96ff-4dd4-9c74-0dc92131d96c" providerId="ADAL" clId="{BEA30F21-6291-40A8-8741-0FD0EE5AE298}" dt="2024-07-02T12:28:31.006" v="51" actId="113"/>
        <pc:sldMkLst>
          <pc:docMk/>
          <pc:sldMk cId="1067430973" sldId="415"/>
        </pc:sldMkLst>
      </pc:sldChg>
      <pc:sldChg chg="addSp modSp">
        <pc:chgData name="HADHRI Moncef" userId="895ef482-96ff-4dd4-9c74-0dc92131d96c" providerId="ADAL" clId="{BEA30F21-6291-40A8-8741-0FD0EE5AE298}" dt="2024-07-04T11:57:51.107" v="189"/>
        <pc:sldMkLst>
          <pc:docMk/>
          <pc:sldMk cId="4003818425" sldId="452"/>
        </pc:sldMkLst>
      </pc:sldChg>
      <pc:sldChg chg="addSp modSp">
        <pc:chgData name="HADHRI Moncef" userId="895ef482-96ff-4dd4-9c74-0dc92131d96c" providerId="ADAL" clId="{BEA30F21-6291-40A8-8741-0FD0EE5AE298}" dt="2024-07-04T11:58:05.893" v="191"/>
        <pc:sldMkLst>
          <pc:docMk/>
          <pc:sldMk cId="2606274184" sldId="465"/>
        </pc:sldMkLst>
      </pc:sldChg>
      <pc:sldChg chg="addSp mod">
        <pc:chgData name="HADHRI Moncef" userId="895ef482-96ff-4dd4-9c74-0dc92131d96c" providerId="ADAL" clId="{BEA30F21-6291-40A8-8741-0FD0EE5AE298}" dt="2024-07-04T11:57:30.205" v="187" actId="11529"/>
        <pc:sldMkLst>
          <pc:docMk/>
          <pc:sldMk cId="696988029" sldId="474"/>
        </pc:sldMkLst>
      </pc:sldChg>
      <pc:sldChg chg="addSp modSp">
        <pc:chgData name="HADHRI Moncef" userId="895ef482-96ff-4dd4-9c74-0dc92131d96c" providerId="ADAL" clId="{BEA30F21-6291-40A8-8741-0FD0EE5AE298}" dt="2024-07-04T11:57:40.821" v="188"/>
        <pc:sldMkLst>
          <pc:docMk/>
          <pc:sldMk cId="1483498060" sldId="475"/>
        </pc:sldMkLst>
      </pc:sldChg>
      <pc:sldChg chg="addSp delSp modSp mod">
        <pc:chgData name="HADHRI Moncef" userId="895ef482-96ff-4dd4-9c74-0dc92131d96c" providerId="ADAL" clId="{BEA30F21-6291-40A8-8741-0FD0EE5AE298}" dt="2024-07-02T15:08:21.460" v="186" actId="14100"/>
        <pc:sldMkLst>
          <pc:docMk/>
          <pc:sldMk cId="2066674344" sldId="2134805399"/>
        </pc:sldMkLst>
      </pc:sldChg>
      <pc:sldChg chg="modSp mod ord">
        <pc:chgData name="HADHRI Moncef" userId="895ef482-96ff-4dd4-9c74-0dc92131d96c" providerId="ADAL" clId="{BEA30F21-6291-40A8-8741-0FD0EE5AE298}" dt="2024-07-02T15:03:53.934" v="61" actId="207"/>
        <pc:sldMkLst>
          <pc:docMk/>
          <pc:sldMk cId="1782097978" sldId="2134805418"/>
        </pc:sldMkLst>
      </pc:sldChg>
      <pc:sldChg chg="delSp modSp add mod modNotesTx">
        <pc:chgData name="HADHRI Moncef" userId="895ef482-96ff-4dd4-9c74-0dc92131d96c" providerId="ADAL" clId="{BEA30F21-6291-40A8-8741-0FD0EE5AE298}" dt="2024-07-02T11:15:54.323" v="30" actId="1076"/>
        <pc:sldMkLst>
          <pc:docMk/>
          <pc:sldMk cId="1043698645" sldId="2134805912"/>
        </pc:sldMkLst>
      </pc:sldChg>
      <pc:sldChg chg="delSp modSp add mod">
        <pc:chgData name="HADHRI Moncef" userId="895ef482-96ff-4dd4-9c74-0dc92131d96c" providerId="ADAL" clId="{BEA30F21-6291-40A8-8741-0FD0EE5AE298}" dt="2024-07-02T11:15:25.550" v="19" actId="207"/>
        <pc:sldMkLst>
          <pc:docMk/>
          <pc:sldMk cId="1650159124" sldId="2134805967"/>
        </pc:sldMkLst>
      </pc:sldChg>
      <pc:sldChg chg="delSp add del mod">
        <pc:chgData name="HADHRI Moncef" userId="895ef482-96ff-4dd4-9c74-0dc92131d96c" providerId="ADAL" clId="{BEA30F21-6291-40A8-8741-0FD0EE5AE298}" dt="2024-07-02T11:17:55.785" v="31" actId="47"/>
        <pc:sldMkLst>
          <pc:docMk/>
          <pc:sldMk cId="3366029030" sldId="2134805968"/>
        </pc:sldMkLst>
      </pc:sldChg>
      <pc:sldChg chg="delSp modSp add mod">
        <pc:chgData name="HADHRI Moncef" userId="895ef482-96ff-4dd4-9c74-0dc92131d96c" providerId="ADAL" clId="{BEA30F21-6291-40A8-8741-0FD0EE5AE298}" dt="2024-07-02T15:08:10.661" v="181" actId="1037"/>
        <pc:sldMkLst>
          <pc:docMk/>
          <pc:sldMk cId="3892585237" sldId="2134805968"/>
        </pc:sldMkLst>
      </pc:sldChg>
    </pc:docChg>
  </pc:docChgLst>
  <pc:docChgLst>
    <pc:chgData name="HADHRI Moncef" userId="895ef482-96ff-4dd4-9c74-0dc92131d96c" providerId="ADAL" clId="{5E27FDBC-B5C0-4472-9E3A-FCEC2326CF70}"/>
    <pc:docChg chg="custSel modSld">
      <pc:chgData name="HADHRI Moncef" userId="895ef482-96ff-4dd4-9c74-0dc92131d96c" providerId="ADAL" clId="{5E27FDBC-B5C0-4472-9E3A-FCEC2326CF70}" dt="2024-01-10T13:27:39.565" v="31" actId="1076"/>
      <pc:docMkLst>
        <pc:docMk/>
      </pc:docMkLst>
      <pc:sldChg chg="modSp mod">
        <pc:chgData name="HADHRI Moncef" userId="895ef482-96ff-4dd4-9c74-0dc92131d96c" providerId="ADAL" clId="{5E27FDBC-B5C0-4472-9E3A-FCEC2326CF70}" dt="2023-12-05T13:31:14.575" v="27" actId="20577"/>
        <pc:sldMkLst>
          <pc:docMk/>
          <pc:sldMk cId="435617243" sldId="371"/>
        </pc:sldMkLst>
      </pc:sldChg>
      <pc:sldChg chg="modSp mod">
        <pc:chgData name="HADHRI Moncef" userId="895ef482-96ff-4dd4-9c74-0dc92131d96c" providerId="ADAL" clId="{5E27FDBC-B5C0-4472-9E3A-FCEC2326CF70}" dt="2023-12-05T13:31:48.938" v="30" actId="13926"/>
        <pc:sldMkLst>
          <pc:docMk/>
          <pc:sldMk cId="1920272730" sldId="372"/>
        </pc:sldMkLst>
      </pc:sldChg>
      <pc:sldChg chg="addSp delSp modSp mod">
        <pc:chgData name="HADHRI Moncef" userId="895ef482-96ff-4dd4-9c74-0dc92131d96c" providerId="ADAL" clId="{5E27FDBC-B5C0-4472-9E3A-FCEC2326CF70}" dt="2023-11-30T11:39:36.047" v="3" actId="1076"/>
        <pc:sldMkLst>
          <pc:docMk/>
          <pc:sldMk cId="3970380033" sldId="529"/>
        </pc:sldMkLst>
      </pc:sldChg>
      <pc:sldChg chg="modSp mod">
        <pc:chgData name="HADHRI Moncef" userId="895ef482-96ff-4dd4-9c74-0dc92131d96c" providerId="ADAL" clId="{5E27FDBC-B5C0-4472-9E3A-FCEC2326CF70}" dt="2024-01-10T13:27:39.565" v="31" actId="1076"/>
        <pc:sldMkLst>
          <pc:docMk/>
          <pc:sldMk cId="1990773259" sldId="2134805401"/>
        </pc:sldMkLst>
      </pc:sldChg>
    </pc:docChg>
  </pc:docChgLst>
  <pc:docChgLst>
    <pc:chgData name="HADHRI Moncef" userId="895ef482-96ff-4dd4-9c74-0dc92131d96c" providerId="ADAL" clId="{04C08600-B375-4ADC-B3FC-1339CA00158D}"/>
    <pc:docChg chg="undo custSel addSld delSld modSld">
      <pc:chgData name="HADHRI Moncef" userId="895ef482-96ff-4dd4-9c74-0dc92131d96c" providerId="ADAL" clId="{04C08600-B375-4ADC-B3FC-1339CA00158D}" dt="2025-01-23T10:15:02.035" v="1579" actId="20577"/>
      <pc:docMkLst>
        <pc:docMk/>
      </pc:docMkLst>
      <pc:sldChg chg="modSp mod">
        <pc:chgData name="HADHRI Moncef" userId="895ef482-96ff-4dd4-9c74-0dc92131d96c" providerId="ADAL" clId="{04C08600-B375-4ADC-B3FC-1339CA00158D}" dt="2025-01-23T09:30:44.490" v="1576" actId="255"/>
        <pc:sldMkLst>
          <pc:docMk/>
          <pc:sldMk cId="1007389210" sldId="302"/>
        </pc:sldMkLst>
        <pc:spChg chg="mod">
          <ac:chgData name="HADHRI Moncef" userId="895ef482-96ff-4dd4-9c74-0dc92131d96c" providerId="ADAL" clId="{04C08600-B375-4ADC-B3FC-1339CA00158D}" dt="2025-01-23T09:30:44.490" v="1576" actId="255"/>
          <ac:spMkLst>
            <pc:docMk/>
            <pc:sldMk cId="1007389210" sldId="302"/>
            <ac:spMk id="4" creationId="{EA0269C9-074F-4983-8AFC-40E93D3463F1}"/>
          </ac:spMkLst>
        </pc:spChg>
      </pc:sldChg>
      <pc:sldChg chg="addSp delSp modSp mod">
        <pc:chgData name="HADHRI Moncef" userId="895ef482-96ff-4dd4-9c74-0dc92131d96c" providerId="ADAL" clId="{04C08600-B375-4ADC-B3FC-1339CA00158D}" dt="2024-12-18T10:42:41.517" v="355" actId="1076"/>
        <pc:sldMkLst>
          <pc:docMk/>
          <pc:sldMk cId="3683067118" sldId="318"/>
        </pc:sldMkLst>
        <pc:spChg chg="mod">
          <ac:chgData name="HADHRI Moncef" userId="895ef482-96ff-4dd4-9c74-0dc92131d96c" providerId="ADAL" clId="{04C08600-B375-4ADC-B3FC-1339CA00158D}" dt="2024-12-18T10:41:50.683" v="350" actId="14100"/>
          <ac:spMkLst>
            <pc:docMk/>
            <pc:sldMk cId="3683067118" sldId="318"/>
            <ac:spMk id="7" creationId="{00000000-0000-0000-0000-000000000000}"/>
          </ac:spMkLst>
        </pc:spChg>
        <pc:picChg chg="add mod">
          <ac:chgData name="HADHRI Moncef" userId="895ef482-96ff-4dd4-9c74-0dc92131d96c" providerId="ADAL" clId="{04C08600-B375-4ADC-B3FC-1339CA00158D}" dt="2024-12-18T10:42:41.517" v="355" actId="1076"/>
          <ac:picMkLst>
            <pc:docMk/>
            <pc:sldMk cId="3683067118" sldId="318"/>
            <ac:picMk id="5" creationId="{DC6DEA6A-9AF6-A08D-1BB6-22BEBB47338E}"/>
          </ac:picMkLst>
        </pc:picChg>
      </pc:sldChg>
      <pc:sldChg chg="delSp modSp mod">
        <pc:chgData name="HADHRI Moncef" userId="895ef482-96ff-4dd4-9c74-0dc92131d96c" providerId="ADAL" clId="{04C08600-B375-4ADC-B3FC-1339CA00158D}" dt="2025-01-23T09:32:30.850" v="1577" actId="478"/>
        <pc:sldMkLst>
          <pc:docMk/>
          <pc:sldMk cId="435617243" sldId="371"/>
        </pc:sldMkLst>
        <pc:spChg chg="mod">
          <ac:chgData name="HADHRI Moncef" userId="895ef482-96ff-4dd4-9c74-0dc92131d96c" providerId="ADAL" clId="{04C08600-B375-4ADC-B3FC-1339CA00158D}" dt="2024-12-20T14:53:06.068" v="1564" actId="207"/>
          <ac:spMkLst>
            <pc:docMk/>
            <pc:sldMk cId="435617243" sldId="371"/>
            <ac:spMk id="2" creationId="{177418E4-1C13-4BA5-9F99-F8304D2A21D2}"/>
          </ac:spMkLst>
        </pc:spChg>
        <pc:spChg chg="del">
          <ac:chgData name="HADHRI Moncef" userId="895ef482-96ff-4dd4-9c74-0dc92131d96c" providerId="ADAL" clId="{04C08600-B375-4ADC-B3FC-1339CA00158D}" dt="2025-01-23T09:32:30.850" v="1577" actId="478"/>
          <ac:spMkLst>
            <pc:docMk/>
            <pc:sldMk cId="435617243" sldId="371"/>
            <ac:spMk id="5" creationId="{FB45EA33-173A-784C-954E-F7035124C57F}"/>
          </ac:spMkLst>
        </pc:spChg>
        <pc:spChg chg="mod">
          <ac:chgData name="HADHRI Moncef" userId="895ef482-96ff-4dd4-9c74-0dc92131d96c" providerId="ADAL" clId="{04C08600-B375-4ADC-B3FC-1339CA00158D}" dt="2024-12-20T14:53:13.124" v="1572" actId="20577"/>
          <ac:spMkLst>
            <pc:docMk/>
            <pc:sldMk cId="435617243" sldId="371"/>
            <ac:spMk id="7" creationId="{66FB7B9E-1E0F-534F-9A68-2F855FF12DFE}"/>
          </ac:spMkLst>
        </pc:spChg>
      </pc:sldChg>
      <pc:sldChg chg="modSp mod">
        <pc:chgData name="HADHRI Moncef" userId="895ef482-96ff-4dd4-9c74-0dc92131d96c" providerId="ADAL" clId="{04C08600-B375-4ADC-B3FC-1339CA00158D}" dt="2025-01-23T10:15:02.035" v="1579" actId="20577"/>
        <pc:sldMkLst>
          <pc:docMk/>
          <pc:sldMk cId="1920272730" sldId="372"/>
        </pc:sldMkLst>
        <pc:spChg chg="mod">
          <ac:chgData name="HADHRI Moncef" userId="895ef482-96ff-4dd4-9c74-0dc92131d96c" providerId="ADAL" clId="{04C08600-B375-4ADC-B3FC-1339CA00158D}" dt="2025-01-23T10:15:02.035" v="1579" actId="20577"/>
          <ac:spMkLst>
            <pc:docMk/>
            <pc:sldMk cId="1920272730" sldId="372"/>
            <ac:spMk id="5" creationId="{300EFDE8-6590-45AD-A3CC-F166D832B8DE}"/>
          </ac:spMkLst>
        </pc:spChg>
      </pc:sldChg>
      <pc:sldChg chg="addSp delSp modSp mod">
        <pc:chgData name="HADHRI Moncef" userId="895ef482-96ff-4dd4-9c74-0dc92131d96c" providerId="ADAL" clId="{04C08600-B375-4ADC-B3FC-1339CA00158D}" dt="2024-12-18T12:40:57.049" v="1507" actId="1037"/>
        <pc:sldMkLst>
          <pc:docMk/>
          <pc:sldMk cId="687316141" sldId="375"/>
        </pc:sldMkLst>
        <pc:spChg chg="mod">
          <ac:chgData name="HADHRI Moncef" userId="895ef482-96ff-4dd4-9c74-0dc92131d96c" providerId="ADAL" clId="{04C08600-B375-4ADC-B3FC-1339CA00158D}" dt="2024-12-18T10:48:21.667" v="511" actId="113"/>
          <ac:spMkLst>
            <pc:docMk/>
            <pc:sldMk cId="687316141" sldId="375"/>
            <ac:spMk id="7" creationId="{00000000-0000-0000-0000-000000000000}"/>
          </ac:spMkLst>
        </pc:spChg>
        <pc:picChg chg="add mod">
          <ac:chgData name="HADHRI Moncef" userId="895ef482-96ff-4dd4-9c74-0dc92131d96c" providerId="ADAL" clId="{04C08600-B375-4ADC-B3FC-1339CA00158D}" dt="2024-12-18T12:40:57.049" v="1507" actId="1037"/>
          <ac:picMkLst>
            <pc:docMk/>
            <pc:sldMk cId="687316141" sldId="375"/>
            <ac:picMk id="4" creationId="{955F2690-575A-50F2-D829-1BBB7FC1311C}"/>
          </ac:picMkLst>
        </pc:picChg>
      </pc:sldChg>
      <pc:sldChg chg="addSp delSp modSp mod">
        <pc:chgData name="HADHRI Moncef" userId="895ef482-96ff-4dd4-9c74-0dc92131d96c" providerId="ADAL" clId="{04C08600-B375-4ADC-B3FC-1339CA00158D}" dt="2024-12-18T11:38:18.485" v="1122" actId="1076"/>
        <pc:sldMkLst>
          <pc:docMk/>
          <pc:sldMk cId="3203527764" sldId="378"/>
        </pc:sldMkLst>
        <pc:spChg chg="mod">
          <ac:chgData name="HADHRI Moncef" userId="895ef482-96ff-4dd4-9c74-0dc92131d96c" providerId="ADAL" clId="{04C08600-B375-4ADC-B3FC-1339CA00158D}" dt="2024-12-18T11:38:18.485" v="1122" actId="1076"/>
          <ac:spMkLst>
            <pc:docMk/>
            <pc:sldMk cId="3203527764" sldId="378"/>
            <ac:spMk id="7" creationId="{00000000-0000-0000-0000-000000000000}"/>
          </ac:spMkLst>
        </pc:spChg>
        <pc:picChg chg="add mod">
          <ac:chgData name="HADHRI Moncef" userId="895ef482-96ff-4dd4-9c74-0dc92131d96c" providerId="ADAL" clId="{04C08600-B375-4ADC-B3FC-1339CA00158D}" dt="2024-12-18T11:38:13.957" v="1120" actId="14100"/>
          <ac:picMkLst>
            <pc:docMk/>
            <pc:sldMk cId="3203527764" sldId="378"/>
            <ac:picMk id="5" creationId="{6DDC0F04-EAD9-990F-77E9-B398C5E7DD16}"/>
          </ac:picMkLst>
        </pc:picChg>
      </pc:sldChg>
      <pc:sldChg chg="addSp delSp modSp mod">
        <pc:chgData name="HADHRI Moncef" userId="895ef482-96ff-4dd4-9c74-0dc92131d96c" providerId="ADAL" clId="{04C08600-B375-4ADC-B3FC-1339CA00158D}" dt="2024-12-20T14:51:42.510" v="1560" actId="13926"/>
        <pc:sldMkLst>
          <pc:docMk/>
          <pc:sldMk cId="3833533132" sldId="403"/>
        </pc:sldMkLst>
        <pc:spChg chg="mod">
          <ac:chgData name="HADHRI Moncef" userId="895ef482-96ff-4dd4-9c74-0dc92131d96c" providerId="ADAL" clId="{04C08600-B375-4ADC-B3FC-1339CA00158D}" dt="2024-12-20T14:51:42.510" v="1560" actId="13926"/>
          <ac:spMkLst>
            <pc:docMk/>
            <pc:sldMk cId="3833533132" sldId="403"/>
            <ac:spMk id="7" creationId="{00000000-0000-0000-0000-000000000000}"/>
          </ac:spMkLst>
        </pc:spChg>
        <pc:picChg chg="add mod">
          <ac:chgData name="HADHRI Moncef" userId="895ef482-96ff-4dd4-9c74-0dc92131d96c" providerId="ADAL" clId="{04C08600-B375-4ADC-B3FC-1339CA00158D}" dt="2024-12-20T14:51:38.085" v="1559" actId="14100"/>
          <ac:picMkLst>
            <pc:docMk/>
            <pc:sldMk cId="3833533132" sldId="403"/>
            <ac:picMk id="4" creationId="{2959D544-B633-7CD3-A68D-711AFAE52E2F}"/>
          </ac:picMkLst>
        </pc:picChg>
      </pc:sldChg>
      <pc:sldChg chg="addSp delSp modSp mod">
        <pc:chgData name="HADHRI Moncef" userId="895ef482-96ff-4dd4-9c74-0dc92131d96c" providerId="ADAL" clId="{04C08600-B375-4ADC-B3FC-1339CA00158D}" dt="2024-12-18T11:08:39.366" v="832" actId="1076"/>
        <pc:sldMkLst>
          <pc:docMk/>
          <pc:sldMk cId="3416576635" sldId="406"/>
        </pc:sldMkLst>
        <pc:spChg chg="mod">
          <ac:chgData name="HADHRI Moncef" userId="895ef482-96ff-4dd4-9c74-0dc92131d96c" providerId="ADAL" clId="{04C08600-B375-4ADC-B3FC-1339CA00158D}" dt="2024-12-18T11:08:21.106" v="828" actId="207"/>
          <ac:spMkLst>
            <pc:docMk/>
            <pc:sldMk cId="3416576635" sldId="406"/>
            <ac:spMk id="2" creationId="{00000000-0000-0000-0000-000000000000}"/>
          </ac:spMkLst>
        </pc:spChg>
        <pc:picChg chg="add mod">
          <ac:chgData name="HADHRI Moncef" userId="895ef482-96ff-4dd4-9c74-0dc92131d96c" providerId="ADAL" clId="{04C08600-B375-4ADC-B3FC-1339CA00158D}" dt="2024-12-18T11:08:39.366" v="832" actId="1076"/>
          <ac:picMkLst>
            <pc:docMk/>
            <pc:sldMk cId="3416576635" sldId="406"/>
            <ac:picMk id="5" creationId="{A56E0FEA-F801-6DC1-AD3D-FA9DE9C6C122}"/>
          </ac:picMkLst>
        </pc:picChg>
      </pc:sldChg>
      <pc:sldChg chg="addSp delSp modSp mod">
        <pc:chgData name="HADHRI Moncef" userId="895ef482-96ff-4dd4-9c74-0dc92131d96c" providerId="ADAL" clId="{04C08600-B375-4ADC-B3FC-1339CA00158D}" dt="2024-12-18T11:15:37.295" v="849" actId="14100"/>
        <pc:sldMkLst>
          <pc:docMk/>
          <pc:sldMk cId="1697530786" sldId="407"/>
        </pc:sldMkLst>
        <pc:spChg chg="mod">
          <ac:chgData name="HADHRI Moncef" userId="895ef482-96ff-4dd4-9c74-0dc92131d96c" providerId="ADAL" clId="{04C08600-B375-4ADC-B3FC-1339CA00158D}" dt="2024-12-18T11:15:14.264" v="844" actId="1076"/>
          <ac:spMkLst>
            <pc:docMk/>
            <pc:sldMk cId="1697530786" sldId="407"/>
            <ac:spMk id="2" creationId="{00000000-0000-0000-0000-000000000000}"/>
          </ac:spMkLst>
        </pc:spChg>
        <pc:picChg chg="add mod">
          <ac:chgData name="HADHRI Moncef" userId="895ef482-96ff-4dd4-9c74-0dc92131d96c" providerId="ADAL" clId="{04C08600-B375-4ADC-B3FC-1339CA00158D}" dt="2024-12-18T11:15:37.295" v="849" actId="14100"/>
          <ac:picMkLst>
            <pc:docMk/>
            <pc:sldMk cId="1697530786" sldId="407"/>
            <ac:picMk id="7" creationId="{E5BDAF01-1A1C-88B6-71F4-135CAD0B3AAA}"/>
          </ac:picMkLst>
        </pc:picChg>
      </pc:sldChg>
      <pc:sldChg chg="addSp delSp modSp mod">
        <pc:chgData name="HADHRI Moncef" userId="895ef482-96ff-4dd4-9c74-0dc92131d96c" providerId="ADAL" clId="{04C08600-B375-4ADC-B3FC-1339CA00158D}" dt="2024-12-18T11:16:16.736" v="858" actId="1076"/>
        <pc:sldMkLst>
          <pc:docMk/>
          <pc:sldMk cId="3455755029" sldId="408"/>
        </pc:sldMkLst>
        <pc:spChg chg="mod">
          <ac:chgData name="HADHRI Moncef" userId="895ef482-96ff-4dd4-9c74-0dc92131d96c" providerId="ADAL" clId="{04C08600-B375-4ADC-B3FC-1339CA00158D}" dt="2024-12-18T11:15:58.311" v="856" actId="255"/>
          <ac:spMkLst>
            <pc:docMk/>
            <pc:sldMk cId="3455755029" sldId="408"/>
            <ac:spMk id="2" creationId="{00000000-0000-0000-0000-000000000000}"/>
          </ac:spMkLst>
        </pc:spChg>
        <pc:picChg chg="add mod">
          <ac:chgData name="HADHRI Moncef" userId="895ef482-96ff-4dd4-9c74-0dc92131d96c" providerId="ADAL" clId="{04C08600-B375-4ADC-B3FC-1339CA00158D}" dt="2024-12-18T11:16:16.736" v="858" actId="1076"/>
          <ac:picMkLst>
            <pc:docMk/>
            <pc:sldMk cId="3455755029" sldId="408"/>
            <ac:picMk id="6" creationId="{CE0E7E75-AD1A-48AF-3A96-02A690CAEB0C}"/>
          </ac:picMkLst>
        </pc:picChg>
      </pc:sldChg>
      <pc:sldChg chg="addSp delSp modSp mod">
        <pc:chgData name="HADHRI Moncef" userId="895ef482-96ff-4dd4-9c74-0dc92131d96c" providerId="ADAL" clId="{04C08600-B375-4ADC-B3FC-1339CA00158D}" dt="2024-12-18T11:17:04.590" v="871" actId="14100"/>
        <pc:sldMkLst>
          <pc:docMk/>
          <pc:sldMk cId="1207978756" sldId="410"/>
        </pc:sldMkLst>
        <pc:spChg chg="mod">
          <ac:chgData name="HADHRI Moncef" userId="895ef482-96ff-4dd4-9c74-0dc92131d96c" providerId="ADAL" clId="{04C08600-B375-4ADC-B3FC-1339CA00158D}" dt="2024-12-18T11:16:42.567" v="868" actId="1076"/>
          <ac:spMkLst>
            <pc:docMk/>
            <pc:sldMk cId="1207978756" sldId="410"/>
            <ac:spMk id="2" creationId="{00000000-0000-0000-0000-000000000000}"/>
          </ac:spMkLst>
        </pc:spChg>
        <pc:picChg chg="add mod">
          <ac:chgData name="HADHRI Moncef" userId="895ef482-96ff-4dd4-9c74-0dc92131d96c" providerId="ADAL" clId="{04C08600-B375-4ADC-B3FC-1339CA00158D}" dt="2024-12-18T11:17:04.590" v="871" actId="14100"/>
          <ac:picMkLst>
            <pc:docMk/>
            <pc:sldMk cId="1207978756" sldId="410"/>
            <ac:picMk id="5" creationId="{E57FD22B-5546-BE69-D846-CAB07BD59E2E}"/>
          </ac:picMkLst>
        </pc:picChg>
      </pc:sldChg>
      <pc:sldChg chg="addSp delSp modSp mod">
        <pc:chgData name="HADHRI Moncef" userId="895ef482-96ff-4dd4-9c74-0dc92131d96c" providerId="ADAL" clId="{04C08600-B375-4ADC-B3FC-1339CA00158D}" dt="2024-12-18T11:18:30.565" v="906" actId="1076"/>
        <pc:sldMkLst>
          <pc:docMk/>
          <pc:sldMk cId="398650412" sldId="411"/>
        </pc:sldMkLst>
        <pc:spChg chg="mod">
          <ac:chgData name="HADHRI Moncef" userId="895ef482-96ff-4dd4-9c74-0dc92131d96c" providerId="ADAL" clId="{04C08600-B375-4ADC-B3FC-1339CA00158D}" dt="2024-12-18T11:18:30.565" v="906" actId="1076"/>
          <ac:spMkLst>
            <pc:docMk/>
            <pc:sldMk cId="398650412" sldId="411"/>
            <ac:spMk id="2" creationId="{00000000-0000-0000-0000-000000000000}"/>
          </ac:spMkLst>
        </pc:spChg>
        <pc:picChg chg="add mod">
          <ac:chgData name="HADHRI Moncef" userId="895ef482-96ff-4dd4-9c74-0dc92131d96c" providerId="ADAL" clId="{04C08600-B375-4ADC-B3FC-1339CA00158D}" dt="2024-12-18T11:17:48.136" v="879" actId="1076"/>
          <ac:picMkLst>
            <pc:docMk/>
            <pc:sldMk cId="398650412" sldId="411"/>
            <ac:picMk id="6" creationId="{73D043E9-1787-6F3F-DADC-ADD9580BBBD1}"/>
          </ac:picMkLst>
        </pc:picChg>
      </pc:sldChg>
      <pc:sldChg chg="addSp delSp modSp mod">
        <pc:chgData name="HADHRI Moncef" userId="895ef482-96ff-4dd4-9c74-0dc92131d96c" providerId="ADAL" clId="{04C08600-B375-4ADC-B3FC-1339CA00158D}" dt="2024-12-18T11:50:01.705" v="1328" actId="20577"/>
        <pc:sldMkLst>
          <pc:docMk/>
          <pc:sldMk cId="1067430973" sldId="415"/>
        </pc:sldMkLst>
        <pc:spChg chg="mod">
          <ac:chgData name="HADHRI Moncef" userId="895ef482-96ff-4dd4-9c74-0dc92131d96c" providerId="ADAL" clId="{04C08600-B375-4ADC-B3FC-1339CA00158D}" dt="2024-12-18T11:50:01.705" v="1328" actId="20577"/>
          <ac:spMkLst>
            <pc:docMk/>
            <pc:sldMk cId="1067430973" sldId="415"/>
            <ac:spMk id="8" creationId="{00000000-0000-0000-0000-000000000000}"/>
          </ac:spMkLst>
        </pc:spChg>
        <pc:picChg chg="add mod">
          <ac:chgData name="HADHRI Moncef" userId="895ef482-96ff-4dd4-9c74-0dc92131d96c" providerId="ADAL" clId="{04C08600-B375-4ADC-B3FC-1339CA00158D}" dt="2024-12-18T10:59:31.962" v="648" actId="14100"/>
          <ac:picMkLst>
            <pc:docMk/>
            <pc:sldMk cId="1067430973" sldId="415"/>
            <ac:picMk id="4" creationId="{BAEFFDEA-BCC8-688C-353A-387AB8FD91A2}"/>
          </ac:picMkLst>
        </pc:picChg>
      </pc:sldChg>
      <pc:sldChg chg="addSp modSp del">
        <pc:chgData name="HADHRI Moncef" userId="895ef482-96ff-4dd4-9c74-0dc92131d96c" providerId="ADAL" clId="{04C08600-B375-4ADC-B3FC-1339CA00158D}" dt="2024-12-18T11:34:07.154" v="1097" actId="47"/>
        <pc:sldMkLst>
          <pc:docMk/>
          <pc:sldMk cId="1348273151" sldId="432"/>
        </pc:sldMkLst>
      </pc:sldChg>
      <pc:sldChg chg="addSp delSp modSp mod">
        <pc:chgData name="HADHRI Moncef" userId="895ef482-96ff-4dd4-9c74-0dc92131d96c" providerId="ADAL" clId="{04C08600-B375-4ADC-B3FC-1339CA00158D}" dt="2024-12-20T14:51:47.771" v="1563" actId="1036"/>
        <pc:sldMkLst>
          <pc:docMk/>
          <pc:sldMk cId="4003818425" sldId="452"/>
        </pc:sldMkLst>
        <pc:spChg chg="mod">
          <ac:chgData name="HADHRI Moncef" userId="895ef482-96ff-4dd4-9c74-0dc92131d96c" providerId="ADAL" clId="{04C08600-B375-4ADC-B3FC-1339CA00158D}" dt="2024-12-18T11:03:42.770" v="755" actId="207"/>
          <ac:spMkLst>
            <pc:docMk/>
            <pc:sldMk cId="4003818425" sldId="452"/>
            <ac:spMk id="7171" creationId="{00000000-0000-0000-0000-000000000000}"/>
          </ac:spMkLst>
        </pc:spChg>
        <pc:picChg chg="add mod">
          <ac:chgData name="HADHRI Moncef" userId="895ef482-96ff-4dd4-9c74-0dc92131d96c" providerId="ADAL" clId="{04C08600-B375-4ADC-B3FC-1339CA00158D}" dt="2024-12-20T14:51:47.771" v="1563" actId="1036"/>
          <ac:picMkLst>
            <pc:docMk/>
            <pc:sldMk cId="4003818425" sldId="452"/>
            <ac:picMk id="4" creationId="{4F2C931F-8FD5-7A17-942A-BD9E36C70779}"/>
          </ac:picMkLst>
        </pc:picChg>
      </pc:sldChg>
      <pc:sldChg chg="addSp delSp modSp mod">
        <pc:chgData name="HADHRI Moncef" userId="895ef482-96ff-4dd4-9c74-0dc92131d96c" providerId="ADAL" clId="{04C08600-B375-4ADC-B3FC-1339CA00158D}" dt="2024-12-18T11:05:27.125" v="789" actId="1076"/>
        <pc:sldMkLst>
          <pc:docMk/>
          <pc:sldMk cId="2606274184" sldId="465"/>
        </pc:sldMkLst>
        <pc:spChg chg="mod">
          <ac:chgData name="HADHRI Moncef" userId="895ef482-96ff-4dd4-9c74-0dc92131d96c" providerId="ADAL" clId="{04C08600-B375-4ADC-B3FC-1339CA00158D}" dt="2024-12-18T11:05:27.125" v="789" actId="1076"/>
          <ac:spMkLst>
            <pc:docMk/>
            <pc:sldMk cId="2606274184" sldId="465"/>
            <ac:spMk id="7171" creationId="{00000000-0000-0000-0000-000000000000}"/>
          </ac:spMkLst>
        </pc:spChg>
      </pc:sldChg>
      <pc:sldChg chg="addSp delSp modSp mod">
        <pc:chgData name="HADHRI Moncef" userId="895ef482-96ff-4dd4-9c74-0dc92131d96c" providerId="ADAL" clId="{04C08600-B375-4ADC-B3FC-1339CA00158D}" dt="2024-12-18T11:01:45.807" v="717" actId="1076"/>
        <pc:sldMkLst>
          <pc:docMk/>
          <pc:sldMk cId="4223220080" sldId="473"/>
        </pc:sldMkLst>
        <pc:spChg chg="mod">
          <ac:chgData name="HADHRI Moncef" userId="895ef482-96ff-4dd4-9c74-0dc92131d96c" providerId="ADAL" clId="{04C08600-B375-4ADC-B3FC-1339CA00158D}" dt="2024-12-18T11:01:44.118" v="716" actId="1076"/>
          <ac:spMkLst>
            <pc:docMk/>
            <pc:sldMk cId="4223220080" sldId="473"/>
            <ac:spMk id="7171" creationId="{00000000-0000-0000-0000-000000000000}"/>
          </ac:spMkLst>
        </pc:spChg>
        <pc:picChg chg="mod">
          <ac:chgData name="HADHRI Moncef" userId="895ef482-96ff-4dd4-9c74-0dc92131d96c" providerId="ADAL" clId="{04C08600-B375-4ADC-B3FC-1339CA00158D}" dt="2024-12-18T11:01:45.807" v="717" actId="1076"/>
          <ac:picMkLst>
            <pc:docMk/>
            <pc:sldMk cId="4223220080" sldId="473"/>
            <ac:picMk id="6" creationId="{58D8743C-616F-B508-9474-D22BCF9DD590}"/>
          </ac:picMkLst>
        </pc:picChg>
      </pc:sldChg>
      <pc:sldChg chg="addSp delSp modSp mod">
        <pc:chgData name="HADHRI Moncef" userId="895ef482-96ff-4dd4-9c74-0dc92131d96c" providerId="ADAL" clId="{04C08600-B375-4ADC-B3FC-1339CA00158D}" dt="2024-12-18T11:54:12.218" v="1395" actId="113"/>
        <pc:sldMkLst>
          <pc:docMk/>
          <pc:sldMk cId="696988029" sldId="474"/>
        </pc:sldMkLst>
        <pc:spChg chg="mod">
          <ac:chgData name="HADHRI Moncef" userId="895ef482-96ff-4dd4-9c74-0dc92131d96c" providerId="ADAL" clId="{04C08600-B375-4ADC-B3FC-1339CA00158D}" dt="2024-12-18T11:54:12.218" v="1395" actId="113"/>
          <ac:spMkLst>
            <pc:docMk/>
            <pc:sldMk cId="696988029" sldId="474"/>
            <ac:spMk id="15" creationId="{00000000-0000-0000-0000-000000000000}"/>
          </ac:spMkLst>
        </pc:spChg>
      </pc:sldChg>
      <pc:sldChg chg="addSp delSp modSp mod">
        <pc:chgData name="HADHRI Moncef" userId="895ef482-96ff-4dd4-9c74-0dc92131d96c" providerId="ADAL" clId="{04C08600-B375-4ADC-B3FC-1339CA00158D}" dt="2024-12-18T11:03:02.041" v="742" actId="207"/>
        <pc:sldMkLst>
          <pc:docMk/>
          <pc:sldMk cId="1483498060" sldId="475"/>
        </pc:sldMkLst>
        <pc:spChg chg="mod">
          <ac:chgData name="HADHRI Moncef" userId="895ef482-96ff-4dd4-9c74-0dc92131d96c" providerId="ADAL" clId="{04C08600-B375-4ADC-B3FC-1339CA00158D}" dt="2024-12-18T11:03:02.041" v="742" actId="207"/>
          <ac:spMkLst>
            <pc:docMk/>
            <pc:sldMk cId="1483498060" sldId="475"/>
            <ac:spMk id="9" creationId="{00000000-0000-0000-0000-000000000000}"/>
          </ac:spMkLst>
        </pc:spChg>
        <pc:picChg chg="mod">
          <ac:chgData name="HADHRI Moncef" userId="895ef482-96ff-4dd4-9c74-0dc92131d96c" providerId="ADAL" clId="{04C08600-B375-4ADC-B3FC-1339CA00158D}" dt="2024-12-18T11:02:49.879" v="738" actId="1076"/>
          <ac:picMkLst>
            <pc:docMk/>
            <pc:sldMk cId="1483498060" sldId="475"/>
            <ac:picMk id="4" creationId="{794E8930-320C-BA69-30CD-5D6287C29F85}"/>
          </ac:picMkLst>
        </pc:picChg>
      </pc:sldChg>
      <pc:sldChg chg="addSp delSp modSp mod">
        <pc:chgData name="HADHRI Moncef" userId="895ef482-96ff-4dd4-9c74-0dc92131d96c" providerId="ADAL" clId="{04C08600-B375-4ADC-B3FC-1339CA00158D}" dt="2024-12-18T11:57:50.707" v="1492" actId="1076"/>
        <pc:sldMkLst>
          <pc:docMk/>
          <pc:sldMk cId="2264595889" sldId="478"/>
        </pc:sldMkLst>
        <pc:spChg chg="mod">
          <ac:chgData name="HADHRI Moncef" userId="895ef482-96ff-4dd4-9c74-0dc92131d96c" providerId="ADAL" clId="{04C08600-B375-4ADC-B3FC-1339CA00158D}" dt="2024-12-18T11:57:40.268" v="1491" actId="113"/>
          <ac:spMkLst>
            <pc:docMk/>
            <pc:sldMk cId="2264595889" sldId="478"/>
            <ac:spMk id="7" creationId="{00000000-0000-0000-0000-000000000000}"/>
          </ac:spMkLst>
        </pc:spChg>
        <pc:picChg chg="add mod">
          <ac:chgData name="HADHRI Moncef" userId="895ef482-96ff-4dd4-9c74-0dc92131d96c" providerId="ADAL" clId="{04C08600-B375-4ADC-B3FC-1339CA00158D}" dt="2024-12-18T11:57:50.707" v="1492" actId="1076"/>
          <ac:picMkLst>
            <pc:docMk/>
            <pc:sldMk cId="2264595889" sldId="478"/>
            <ac:picMk id="5" creationId="{2271403A-F816-CF0F-91C2-A647B7E49649}"/>
          </ac:picMkLst>
        </pc:picChg>
      </pc:sldChg>
      <pc:sldChg chg="addSp delSp modSp mod">
        <pc:chgData name="HADHRI Moncef" userId="895ef482-96ff-4dd4-9c74-0dc92131d96c" providerId="ADAL" clId="{04C08600-B375-4ADC-B3FC-1339CA00158D}" dt="2024-12-18T11:43:59.554" v="1149" actId="20577"/>
        <pc:sldMkLst>
          <pc:docMk/>
          <pc:sldMk cId="1623204966" sldId="481"/>
        </pc:sldMkLst>
        <pc:spChg chg="mod">
          <ac:chgData name="HADHRI Moncef" userId="895ef482-96ff-4dd4-9c74-0dc92131d96c" providerId="ADAL" clId="{04C08600-B375-4ADC-B3FC-1339CA00158D}" dt="2024-12-18T11:43:59.554" v="1149" actId="20577"/>
          <ac:spMkLst>
            <pc:docMk/>
            <pc:sldMk cId="1623204966" sldId="481"/>
            <ac:spMk id="7" creationId="{00000000-0000-0000-0000-000000000000}"/>
          </ac:spMkLst>
        </pc:spChg>
        <pc:picChg chg="add mod">
          <ac:chgData name="HADHRI Moncef" userId="895ef482-96ff-4dd4-9c74-0dc92131d96c" providerId="ADAL" clId="{04C08600-B375-4ADC-B3FC-1339CA00158D}" dt="2024-12-18T11:30:20.918" v="1023" actId="1076"/>
          <ac:picMkLst>
            <pc:docMk/>
            <pc:sldMk cId="1623204966" sldId="481"/>
            <ac:picMk id="5" creationId="{07F20688-DC15-60DD-1C69-A6DF8CA210B9}"/>
          </ac:picMkLst>
        </pc:picChg>
      </pc:sldChg>
      <pc:sldChg chg="addSp delSp modSp mod">
        <pc:chgData name="HADHRI Moncef" userId="895ef482-96ff-4dd4-9c74-0dc92131d96c" providerId="ADAL" clId="{04C08600-B375-4ADC-B3FC-1339CA00158D}" dt="2024-12-18T11:26:01.607" v="964" actId="1076"/>
        <pc:sldMkLst>
          <pc:docMk/>
          <pc:sldMk cId="3050253954" sldId="483"/>
        </pc:sldMkLst>
        <pc:spChg chg="mod">
          <ac:chgData name="HADHRI Moncef" userId="895ef482-96ff-4dd4-9c74-0dc92131d96c" providerId="ADAL" clId="{04C08600-B375-4ADC-B3FC-1339CA00158D}" dt="2024-12-18T11:25:57.201" v="962" actId="255"/>
          <ac:spMkLst>
            <pc:docMk/>
            <pc:sldMk cId="3050253954" sldId="483"/>
            <ac:spMk id="7171" creationId="{00000000-0000-0000-0000-000000000000}"/>
          </ac:spMkLst>
        </pc:spChg>
        <pc:picChg chg="mod">
          <ac:chgData name="HADHRI Moncef" userId="895ef482-96ff-4dd4-9c74-0dc92131d96c" providerId="ADAL" clId="{04C08600-B375-4ADC-B3FC-1339CA00158D}" dt="2024-12-18T11:26:01.607" v="964" actId="1076"/>
          <ac:picMkLst>
            <pc:docMk/>
            <pc:sldMk cId="3050253954" sldId="483"/>
            <ac:picMk id="5" creationId="{8ACC5A0A-9023-EFC0-754F-531477E8D627}"/>
          </ac:picMkLst>
        </pc:picChg>
      </pc:sldChg>
      <pc:sldChg chg="addSp delSp modSp mod">
        <pc:chgData name="HADHRI Moncef" userId="895ef482-96ff-4dd4-9c74-0dc92131d96c" providerId="ADAL" clId="{04C08600-B375-4ADC-B3FC-1339CA00158D}" dt="2024-12-18T10:47:42.773" v="489" actId="1076"/>
        <pc:sldMkLst>
          <pc:docMk/>
          <pc:sldMk cId="3842426781" sldId="498"/>
        </pc:sldMkLst>
        <pc:spChg chg="mod">
          <ac:chgData name="HADHRI Moncef" userId="895ef482-96ff-4dd4-9c74-0dc92131d96c" providerId="ADAL" clId="{04C08600-B375-4ADC-B3FC-1339CA00158D}" dt="2024-12-18T10:47:41.253" v="488" actId="1076"/>
          <ac:spMkLst>
            <pc:docMk/>
            <pc:sldMk cId="3842426781" sldId="498"/>
            <ac:spMk id="2" creationId="{00000000-0000-0000-0000-000000000000}"/>
          </ac:spMkLst>
        </pc:spChg>
        <pc:picChg chg="add mod">
          <ac:chgData name="HADHRI Moncef" userId="895ef482-96ff-4dd4-9c74-0dc92131d96c" providerId="ADAL" clId="{04C08600-B375-4ADC-B3FC-1339CA00158D}" dt="2024-12-18T10:47:42.773" v="489" actId="1076"/>
          <ac:picMkLst>
            <pc:docMk/>
            <pc:sldMk cId="3842426781" sldId="498"/>
            <ac:picMk id="5" creationId="{00BA94B9-D4B5-5DAB-214E-A75EC638DCD0}"/>
          </ac:picMkLst>
        </pc:picChg>
      </pc:sldChg>
      <pc:sldChg chg="addSp delSp modSp mod">
        <pc:chgData name="HADHRI Moncef" userId="895ef482-96ff-4dd4-9c74-0dc92131d96c" providerId="ADAL" clId="{04C08600-B375-4ADC-B3FC-1339CA00158D}" dt="2024-12-18T11:42:30.946" v="1132" actId="20577"/>
        <pc:sldMkLst>
          <pc:docMk/>
          <pc:sldMk cId="3132958973" sldId="502"/>
        </pc:sldMkLst>
        <pc:spChg chg="mod">
          <ac:chgData name="HADHRI Moncef" userId="895ef482-96ff-4dd4-9c74-0dc92131d96c" providerId="ADAL" clId="{04C08600-B375-4ADC-B3FC-1339CA00158D}" dt="2024-12-18T11:42:30.946" v="1132" actId="20577"/>
          <ac:spMkLst>
            <pc:docMk/>
            <pc:sldMk cId="3132958973" sldId="502"/>
            <ac:spMk id="2" creationId="{00000000-0000-0000-0000-000000000000}"/>
          </ac:spMkLst>
        </pc:spChg>
        <pc:picChg chg="add mod">
          <ac:chgData name="HADHRI Moncef" userId="895ef482-96ff-4dd4-9c74-0dc92131d96c" providerId="ADAL" clId="{04C08600-B375-4ADC-B3FC-1339CA00158D}" dt="2024-12-18T11:24:38.247" v="949" actId="1076"/>
          <ac:picMkLst>
            <pc:docMk/>
            <pc:sldMk cId="3132958973" sldId="502"/>
            <ac:picMk id="6" creationId="{09FA1778-83D2-72D7-662D-F8D275B23578}"/>
          </ac:picMkLst>
        </pc:picChg>
      </pc:sldChg>
      <pc:sldChg chg="addSp modSp del">
        <pc:chgData name="HADHRI Moncef" userId="895ef482-96ff-4dd4-9c74-0dc92131d96c" providerId="ADAL" clId="{04C08600-B375-4ADC-B3FC-1339CA00158D}" dt="2024-12-18T10:30:20.466" v="162" actId="47"/>
        <pc:sldMkLst>
          <pc:docMk/>
          <pc:sldMk cId="4181001190" sldId="506"/>
        </pc:sldMkLst>
      </pc:sldChg>
      <pc:sldChg chg="addSp delSp modSp mod">
        <pc:chgData name="HADHRI Moncef" userId="895ef482-96ff-4dd4-9c74-0dc92131d96c" providerId="ADAL" clId="{04C08600-B375-4ADC-B3FC-1339CA00158D}" dt="2024-12-20T14:50:32.399" v="1553" actId="1076"/>
        <pc:sldMkLst>
          <pc:docMk/>
          <pc:sldMk cId="1376106718" sldId="511"/>
        </pc:sldMkLst>
        <pc:spChg chg="mod">
          <ac:chgData name="HADHRI Moncef" userId="895ef482-96ff-4dd4-9c74-0dc92131d96c" providerId="ADAL" clId="{04C08600-B375-4ADC-B3FC-1339CA00158D}" dt="2024-12-18T11:50:59.474" v="1354" actId="13926"/>
          <ac:spMkLst>
            <pc:docMk/>
            <pc:sldMk cId="1376106718" sldId="511"/>
            <ac:spMk id="7" creationId="{00000000-0000-0000-0000-000000000000}"/>
          </ac:spMkLst>
        </pc:spChg>
        <pc:picChg chg="add mod">
          <ac:chgData name="HADHRI Moncef" userId="895ef482-96ff-4dd4-9c74-0dc92131d96c" providerId="ADAL" clId="{04C08600-B375-4ADC-B3FC-1339CA00158D}" dt="2024-12-20T14:50:32.399" v="1553" actId="1076"/>
          <ac:picMkLst>
            <pc:docMk/>
            <pc:sldMk cId="1376106718" sldId="511"/>
            <ac:picMk id="3" creationId="{2678AFAC-9B9F-2FDD-7FD8-C19D8ECB0910}"/>
          </ac:picMkLst>
        </pc:picChg>
      </pc:sldChg>
      <pc:sldChg chg="addSp delSp modSp mod">
        <pc:chgData name="HADHRI Moncef" userId="895ef482-96ff-4dd4-9c74-0dc92131d96c" providerId="ADAL" clId="{04C08600-B375-4ADC-B3FC-1339CA00158D}" dt="2024-12-18T11:19:33.678" v="919" actId="1076"/>
        <pc:sldMkLst>
          <pc:docMk/>
          <pc:sldMk cId="4037864099" sldId="516"/>
        </pc:sldMkLst>
        <pc:spChg chg="mod">
          <ac:chgData name="HADHRI Moncef" userId="895ef482-96ff-4dd4-9c74-0dc92131d96c" providerId="ADAL" clId="{04C08600-B375-4ADC-B3FC-1339CA00158D}" dt="2024-12-18T11:19:01.782" v="913" actId="14100"/>
          <ac:spMkLst>
            <pc:docMk/>
            <pc:sldMk cId="4037864099" sldId="516"/>
            <ac:spMk id="2" creationId="{00000000-0000-0000-0000-000000000000}"/>
          </ac:spMkLst>
        </pc:spChg>
        <pc:picChg chg="add mod">
          <ac:chgData name="HADHRI Moncef" userId="895ef482-96ff-4dd4-9c74-0dc92131d96c" providerId="ADAL" clId="{04C08600-B375-4ADC-B3FC-1339CA00158D}" dt="2024-12-18T11:19:33.678" v="919" actId="1076"/>
          <ac:picMkLst>
            <pc:docMk/>
            <pc:sldMk cId="4037864099" sldId="516"/>
            <ac:picMk id="5" creationId="{4AFBA67D-73E7-28E5-8AAE-45E0E00D8B81}"/>
          </ac:picMkLst>
        </pc:picChg>
      </pc:sldChg>
      <pc:sldChg chg="addSp delSp modSp mod">
        <pc:chgData name="HADHRI Moncef" userId="895ef482-96ff-4dd4-9c74-0dc92131d96c" providerId="ADAL" clId="{04C08600-B375-4ADC-B3FC-1339CA00158D}" dt="2024-12-18T11:23:39.814" v="936" actId="1076"/>
        <pc:sldMkLst>
          <pc:docMk/>
          <pc:sldMk cId="1410458262" sldId="517"/>
        </pc:sldMkLst>
        <pc:spChg chg="mod">
          <ac:chgData name="HADHRI Moncef" userId="895ef482-96ff-4dd4-9c74-0dc92131d96c" providerId="ADAL" clId="{04C08600-B375-4ADC-B3FC-1339CA00158D}" dt="2024-12-18T11:23:18.655" v="932" actId="1076"/>
          <ac:spMkLst>
            <pc:docMk/>
            <pc:sldMk cId="1410458262" sldId="517"/>
            <ac:spMk id="2" creationId="{00000000-0000-0000-0000-000000000000}"/>
          </ac:spMkLst>
        </pc:spChg>
        <pc:picChg chg="add mod">
          <ac:chgData name="HADHRI Moncef" userId="895ef482-96ff-4dd4-9c74-0dc92131d96c" providerId="ADAL" clId="{04C08600-B375-4ADC-B3FC-1339CA00158D}" dt="2024-12-18T11:23:39.814" v="936" actId="1076"/>
          <ac:picMkLst>
            <pc:docMk/>
            <pc:sldMk cId="1410458262" sldId="517"/>
            <ac:picMk id="6" creationId="{1BC86A0D-37D0-2661-1BD0-8872AF9B95EC}"/>
          </ac:picMkLst>
        </pc:picChg>
      </pc:sldChg>
      <pc:sldChg chg="addSp delSp modSp mod">
        <pc:chgData name="HADHRI Moncef" userId="895ef482-96ff-4dd4-9c74-0dc92131d96c" providerId="ADAL" clId="{04C08600-B375-4ADC-B3FC-1339CA00158D}" dt="2024-12-18T13:19:58.294" v="1524" actId="1076"/>
        <pc:sldMkLst>
          <pc:docMk/>
          <pc:sldMk cId="2337721770" sldId="519"/>
        </pc:sldMkLst>
        <pc:spChg chg="mod">
          <ac:chgData name="HADHRI Moncef" userId="895ef482-96ff-4dd4-9c74-0dc92131d96c" providerId="ADAL" clId="{04C08600-B375-4ADC-B3FC-1339CA00158D}" dt="2024-12-18T13:19:58.294" v="1524" actId="1076"/>
          <ac:spMkLst>
            <pc:docMk/>
            <pc:sldMk cId="2337721770" sldId="519"/>
            <ac:spMk id="2" creationId="{00000000-0000-0000-0000-000000000000}"/>
          </ac:spMkLst>
        </pc:spChg>
        <pc:picChg chg="add mod">
          <ac:chgData name="HADHRI Moncef" userId="895ef482-96ff-4dd4-9c74-0dc92131d96c" providerId="ADAL" clId="{04C08600-B375-4ADC-B3FC-1339CA00158D}" dt="2024-12-18T12:00:12.853" v="1494" actId="14100"/>
          <ac:picMkLst>
            <pc:docMk/>
            <pc:sldMk cId="2337721770" sldId="519"/>
            <ac:picMk id="6" creationId="{57707376-0F75-39AE-84CE-77883F45BDE7}"/>
          </ac:picMkLst>
        </pc:picChg>
      </pc:sldChg>
      <pc:sldChg chg="addSp delSp modSp mod">
        <pc:chgData name="HADHRI Moncef" userId="895ef482-96ff-4dd4-9c74-0dc92131d96c" providerId="ADAL" clId="{04C08600-B375-4ADC-B3FC-1339CA00158D}" dt="2024-12-18T11:34:02.714" v="1096" actId="1076"/>
        <pc:sldMkLst>
          <pc:docMk/>
          <pc:sldMk cId="3995611519" sldId="520"/>
        </pc:sldMkLst>
        <pc:spChg chg="mod">
          <ac:chgData name="HADHRI Moncef" userId="895ef482-96ff-4dd4-9c74-0dc92131d96c" providerId="ADAL" clId="{04C08600-B375-4ADC-B3FC-1339CA00158D}" dt="2024-12-18T11:33:46.243" v="1094" actId="14100"/>
          <ac:spMkLst>
            <pc:docMk/>
            <pc:sldMk cId="3995611519" sldId="520"/>
            <ac:spMk id="2" creationId="{00000000-0000-0000-0000-000000000000}"/>
          </ac:spMkLst>
        </pc:spChg>
        <pc:picChg chg="add mod">
          <ac:chgData name="HADHRI Moncef" userId="895ef482-96ff-4dd4-9c74-0dc92131d96c" providerId="ADAL" clId="{04C08600-B375-4ADC-B3FC-1339CA00158D}" dt="2024-12-18T11:34:02.714" v="1096" actId="1076"/>
          <ac:picMkLst>
            <pc:docMk/>
            <pc:sldMk cId="3995611519" sldId="520"/>
            <ac:picMk id="6" creationId="{81ED743C-4243-823B-6B13-D641A04BAB26}"/>
          </ac:picMkLst>
        </pc:picChg>
      </pc:sldChg>
      <pc:sldChg chg="addSp delSp modSp mod">
        <pc:chgData name="HADHRI Moncef" userId="895ef482-96ff-4dd4-9c74-0dc92131d96c" providerId="ADAL" clId="{04C08600-B375-4ADC-B3FC-1339CA00158D}" dt="2024-12-18T10:37:13.462" v="256" actId="14100"/>
        <pc:sldMkLst>
          <pc:docMk/>
          <pc:sldMk cId="1441936261" sldId="523"/>
        </pc:sldMkLst>
        <pc:spChg chg="mod">
          <ac:chgData name="HADHRI Moncef" userId="895ef482-96ff-4dd4-9c74-0dc92131d96c" providerId="ADAL" clId="{04C08600-B375-4ADC-B3FC-1339CA00158D}" dt="2024-12-18T10:37:13.462" v="256" actId="14100"/>
          <ac:spMkLst>
            <pc:docMk/>
            <pc:sldMk cId="1441936261" sldId="523"/>
            <ac:spMk id="7" creationId="{00000000-0000-0000-0000-000000000000}"/>
          </ac:spMkLst>
        </pc:spChg>
        <pc:picChg chg="add mod">
          <ac:chgData name="HADHRI Moncef" userId="895ef482-96ff-4dd4-9c74-0dc92131d96c" providerId="ADAL" clId="{04C08600-B375-4ADC-B3FC-1339CA00158D}" dt="2024-12-18T10:36:17.811" v="247" actId="1035"/>
          <ac:picMkLst>
            <pc:docMk/>
            <pc:sldMk cId="1441936261" sldId="523"/>
            <ac:picMk id="4" creationId="{EBAD682B-4258-B882-EC79-1A866193A754}"/>
          </ac:picMkLst>
        </pc:picChg>
      </pc:sldChg>
      <pc:sldChg chg="addSp modSp del">
        <pc:chgData name="HADHRI Moncef" userId="895ef482-96ff-4dd4-9c74-0dc92131d96c" providerId="ADAL" clId="{04C08600-B375-4ADC-B3FC-1339CA00158D}" dt="2024-12-18T10:33:02.997" v="167" actId="47"/>
        <pc:sldMkLst>
          <pc:docMk/>
          <pc:sldMk cId="3652464793" sldId="524"/>
        </pc:sldMkLst>
      </pc:sldChg>
      <pc:sldChg chg="addSp delSp modSp mod">
        <pc:chgData name="HADHRI Moncef" userId="895ef482-96ff-4dd4-9c74-0dc92131d96c" providerId="ADAL" clId="{04C08600-B375-4ADC-B3FC-1339CA00158D}" dt="2024-12-18T10:39:54.980" v="318" actId="1076"/>
        <pc:sldMkLst>
          <pc:docMk/>
          <pc:sldMk cId="1797321108" sldId="525"/>
        </pc:sldMkLst>
        <pc:spChg chg="mod">
          <ac:chgData name="HADHRI Moncef" userId="895ef482-96ff-4dd4-9c74-0dc92131d96c" providerId="ADAL" clId="{04C08600-B375-4ADC-B3FC-1339CA00158D}" dt="2024-12-18T10:39:31.550" v="315" actId="14100"/>
          <ac:spMkLst>
            <pc:docMk/>
            <pc:sldMk cId="1797321108" sldId="525"/>
            <ac:spMk id="7" creationId="{00000000-0000-0000-0000-000000000000}"/>
          </ac:spMkLst>
        </pc:spChg>
        <pc:picChg chg="add mod">
          <ac:chgData name="HADHRI Moncef" userId="895ef482-96ff-4dd4-9c74-0dc92131d96c" providerId="ADAL" clId="{04C08600-B375-4ADC-B3FC-1339CA00158D}" dt="2024-12-18T10:39:54.980" v="318" actId="1076"/>
          <ac:picMkLst>
            <pc:docMk/>
            <pc:sldMk cId="1797321108" sldId="525"/>
            <ac:picMk id="5" creationId="{F9129647-A537-7B08-03C9-F118B15C336B}"/>
          </ac:picMkLst>
        </pc:picChg>
      </pc:sldChg>
      <pc:sldChg chg="addSp delSp modSp mod">
        <pc:chgData name="HADHRI Moncef" userId="895ef482-96ff-4dd4-9c74-0dc92131d96c" providerId="ADAL" clId="{04C08600-B375-4ADC-B3FC-1339CA00158D}" dt="2024-12-18T10:44:37.032" v="411" actId="1037"/>
        <pc:sldMkLst>
          <pc:docMk/>
          <pc:sldMk cId="3840129972" sldId="526"/>
        </pc:sldMkLst>
        <pc:spChg chg="mod">
          <ac:chgData name="HADHRI Moncef" userId="895ef482-96ff-4dd4-9c74-0dc92131d96c" providerId="ADAL" clId="{04C08600-B375-4ADC-B3FC-1339CA00158D}" dt="2024-12-18T10:42:53.851" v="359" actId="14100"/>
          <ac:spMkLst>
            <pc:docMk/>
            <pc:sldMk cId="3840129972" sldId="526"/>
            <ac:spMk id="7" creationId="{00000000-0000-0000-0000-000000000000}"/>
          </ac:spMkLst>
        </pc:spChg>
        <pc:picChg chg="add mod">
          <ac:chgData name="HADHRI Moncef" userId="895ef482-96ff-4dd4-9c74-0dc92131d96c" providerId="ADAL" clId="{04C08600-B375-4ADC-B3FC-1339CA00158D}" dt="2024-12-18T10:44:37.032" v="411" actId="1037"/>
          <ac:picMkLst>
            <pc:docMk/>
            <pc:sldMk cId="3840129972" sldId="526"/>
            <ac:picMk id="4" creationId="{75BC2688-7DF2-C577-A67E-3855F2CEDA17}"/>
          </ac:picMkLst>
        </pc:picChg>
      </pc:sldChg>
      <pc:sldChg chg="addSp delSp modSp mod">
        <pc:chgData name="HADHRI Moncef" userId="895ef482-96ff-4dd4-9c74-0dc92131d96c" providerId="ADAL" clId="{04C08600-B375-4ADC-B3FC-1339CA00158D}" dt="2024-12-20T12:38:11.610" v="1537" actId="20577"/>
        <pc:sldMkLst>
          <pc:docMk/>
          <pc:sldMk cId="611791896" sldId="527"/>
        </pc:sldMkLst>
        <pc:spChg chg="mod">
          <ac:chgData name="HADHRI Moncef" userId="895ef482-96ff-4dd4-9c74-0dc92131d96c" providerId="ADAL" clId="{04C08600-B375-4ADC-B3FC-1339CA00158D}" dt="2024-12-20T12:38:11.610" v="1537" actId="20577"/>
          <ac:spMkLst>
            <pc:docMk/>
            <pc:sldMk cId="611791896" sldId="527"/>
            <ac:spMk id="7" creationId="{00000000-0000-0000-0000-000000000000}"/>
          </ac:spMkLst>
        </pc:spChg>
        <pc:picChg chg="add mod">
          <ac:chgData name="HADHRI Moncef" userId="895ef482-96ff-4dd4-9c74-0dc92131d96c" providerId="ADAL" clId="{04C08600-B375-4ADC-B3FC-1339CA00158D}" dt="2024-12-18T10:46:23.094" v="470" actId="1037"/>
          <ac:picMkLst>
            <pc:docMk/>
            <pc:sldMk cId="611791896" sldId="527"/>
            <ac:picMk id="4" creationId="{7B06AA24-7505-0D38-740E-95D19CED5169}"/>
          </ac:picMkLst>
        </pc:picChg>
      </pc:sldChg>
      <pc:sldChg chg="addSp delSp modSp mod">
        <pc:chgData name="HADHRI Moncef" userId="895ef482-96ff-4dd4-9c74-0dc92131d96c" providerId="ADAL" clId="{04C08600-B375-4ADC-B3FC-1339CA00158D}" dt="2024-12-18T11:36:39.180" v="1110" actId="20577"/>
        <pc:sldMkLst>
          <pc:docMk/>
          <pc:sldMk cId="4050344241" sldId="528"/>
        </pc:sldMkLst>
        <pc:spChg chg="mod">
          <ac:chgData name="HADHRI Moncef" userId="895ef482-96ff-4dd4-9c74-0dc92131d96c" providerId="ADAL" clId="{04C08600-B375-4ADC-B3FC-1339CA00158D}" dt="2024-12-18T11:36:39.180" v="1110" actId="20577"/>
          <ac:spMkLst>
            <pc:docMk/>
            <pc:sldMk cId="4050344241" sldId="528"/>
            <ac:spMk id="7" creationId="{00000000-0000-0000-0000-000000000000}"/>
          </ac:spMkLst>
        </pc:spChg>
        <pc:picChg chg="add mod">
          <ac:chgData name="HADHRI Moncef" userId="895ef482-96ff-4dd4-9c74-0dc92131d96c" providerId="ADAL" clId="{04C08600-B375-4ADC-B3FC-1339CA00158D}" dt="2024-12-18T10:46:27.872" v="475" actId="1037"/>
          <ac:picMkLst>
            <pc:docMk/>
            <pc:sldMk cId="4050344241" sldId="528"/>
            <ac:picMk id="5" creationId="{D73D35E6-3619-26B4-D6C4-8510D80DCA76}"/>
          </ac:picMkLst>
        </pc:picChg>
      </pc:sldChg>
      <pc:sldChg chg="addSp delSp modSp mod">
        <pc:chgData name="HADHRI Moncef" userId="895ef482-96ff-4dd4-9c74-0dc92131d96c" providerId="ADAL" clId="{04C08600-B375-4ADC-B3FC-1339CA00158D}" dt="2024-12-18T10:50:53.920" v="534" actId="1037"/>
        <pc:sldMkLst>
          <pc:docMk/>
          <pc:sldMk cId="3970380033" sldId="529"/>
        </pc:sldMkLst>
        <pc:spChg chg="mod">
          <ac:chgData name="HADHRI Moncef" userId="895ef482-96ff-4dd4-9c74-0dc92131d96c" providerId="ADAL" clId="{04C08600-B375-4ADC-B3FC-1339CA00158D}" dt="2024-12-18T10:50:49.504" v="532" actId="113"/>
          <ac:spMkLst>
            <pc:docMk/>
            <pc:sldMk cId="3970380033" sldId="529"/>
            <ac:spMk id="7" creationId="{00000000-0000-0000-0000-000000000000}"/>
          </ac:spMkLst>
        </pc:spChg>
        <pc:picChg chg="add mod">
          <ac:chgData name="HADHRI Moncef" userId="895ef482-96ff-4dd4-9c74-0dc92131d96c" providerId="ADAL" clId="{04C08600-B375-4ADC-B3FC-1339CA00158D}" dt="2024-12-18T10:50:53.920" v="534" actId="1037"/>
          <ac:picMkLst>
            <pc:docMk/>
            <pc:sldMk cId="3970380033" sldId="529"/>
            <ac:picMk id="5" creationId="{2AE47FDA-7AE6-016C-936C-165497840E75}"/>
          </ac:picMkLst>
        </pc:picChg>
      </pc:sldChg>
      <pc:sldChg chg="addSp delSp modSp mod">
        <pc:chgData name="HADHRI Moncef" userId="895ef482-96ff-4dd4-9c74-0dc92131d96c" providerId="ADAL" clId="{04C08600-B375-4ADC-B3FC-1339CA00158D}" dt="2024-12-18T10:52:00.976" v="556" actId="1076"/>
        <pc:sldMkLst>
          <pc:docMk/>
          <pc:sldMk cId="2267228707" sldId="530"/>
        </pc:sldMkLst>
        <pc:spChg chg="mod">
          <ac:chgData name="HADHRI Moncef" userId="895ef482-96ff-4dd4-9c74-0dc92131d96c" providerId="ADAL" clId="{04C08600-B375-4ADC-B3FC-1339CA00158D}" dt="2024-12-18T10:51:25.566" v="553" actId="113"/>
          <ac:spMkLst>
            <pc:docMk/>
            <pc:sldMk cId="2267228707" sldId="530"/>
            <ac:spMk id="7" creationId="{00000000-0000-0000-0000-000000000000}"/>
          </ac:spMkLst>
        </pc:spChg>
        <pc:picChg chg="add mod">
          <ac:chgData name="HADHRI Moncef" userId="895ef482-96ff-4dd4-9c74-0dc92131d96c" providerId="ADAL" clId="{04C08600-B375-4ADC-B3FC-1339CA00158D}" dt="2024-12-18T10:52:00.976" v="556" actId="1076"/>
          <ac:picMkLst>
            <pc:docMk/>
            <pc:sldMk cId="2267228707" sldId="530"/>
            <ac:picMk id="4" creationId="{7758C879-2888-4E04-956F-F7418CE884EE}"/>
          </ac:picMkLst>
        </pc:picChg>
      </pc:sldChg>
      <pc:sldChg chg="addSp delSp modSp mod">
        <pc:chgData name="HADHRI Moncef" userId="895ef482-96ff-4dd4-9c74-0dc92131d96c" providerId="ADAL" clId="{04C08600-B375-4ADC-B3FC-1339CA00158D}" dt="2024-12-18T11:48:37.352" v="1208" actId="1076"/>
        <pc:sldMkLst>
          <pc:docMk/>
          <pc:sldMk cId="399590516" sldId="531"/>
        </pc:sldMkLst>
        <pc:spChg chg="mod">
          <ac:chgData name="HADHRI Moncef" userId="895ef482-96ff-4dd4-9c74-0dc92131d96c" providerId="ADAL" clId="{04C08600-B375-4ADC-B3FC-1339CA00158D}" dt="2024-12-18T11:48:37.352" v="1208" actId="1076"/>
          <ac:spMkLst>
            <pc:docMk/>
            <pc:sldMk cId="399590516" sldId="531"/>
            <ac:spMk id="7" creationId="{00000000-0000-0000-0000-000000000000}"/>
          </ac:spMkLst>
        </pc:spChg>
        <pc:picChg chg="add mod">
          <ac:chgData name="HADHRI Moncef" userId="895ef482-96ff-4dd4-9c74-0dc92131d96c" providerId="ADAL" clId="{04C08600-B375-4ADC-B3FC-1339CA00158D}" dt="2024-12-18T11:48:29.642" v="1205" actId="1076"/>
          <ac:picMkLst>
            <pc:docMk/>
            <pc:sldMk cId="399590516" sldId="531"/>
            <ac:picMk id="4" creationId="{C47FA717-C77A-6437-D9AA-E9AF54AE7D45}"/>
          </ac:picMkLst>
        </pc:picChg>
      </pc:sldChg>
      <pc:sldChg chg="addSp delSp modSp mod">
        <pc:chgData name="HADHRI Moncef" userId="895ef482-96ff-4dd4-9c74-0dc92131d96c" providerId="ADAL" clId="{04C08600-B375-4ADC-B3FC-1339CA00158D}" dt="2024-12-18T11:49:21.876" v="1246" actId="1076"/>
        <pc:sldMkLst>
          <pc:docMk/>
          <pc:sldMk cId="1113706935" sldId="532"/>
        </pc:sldMkLst>
        <pc:spChg chg="mod">
          <ac:chgData name="HADHRI Moncef" userId="895ef482-96ff-4dd4-9c74-0dc92131d96c" providerId="ADAL" clId="{04C08600-B375-4ADC-B3FC-1339CA00158D}" dt="2024-12-18T11:49:21.876" v="1246" actId="1076"/>
          <ac:spMkLst>
            <pc:docMk/>
            <pc:sldMk cId="1113706935" sldId="532"/>
            <ac:spMk id="7" creationId="{00000000-0000-0000-0000-000000000000}"/>
          </ac:spMkLst>
        </pc:spChg>
        <pc:picChg chg="add mod">
          <ac:chgData name="HADHRI Moncef" userId="895ef482-96ff-4dd4-9c74-0dc92131d96c" providerId="ADAL" clId="{04C08600-B375-4ADC-B3FC-1339CA00158D}" dt="2024-12-18T10:58:31.993" v="633" actId="1076"/>
          <ac:picMkLst>
            <pc:docMk/>
            <pc:sldMk cId="1113706935" sldId="532"/>
            <ac:picMk id="5" creationId="{CD183CAA-055A-F8F6-1B59-7751A21C2144}"/>
          </ac:picMkLst>
        </pc:picChg>
      </pc:sldChg>
      <pc:sldChg chg="addSp delSp modSp mod">
        <pc:chgData name="HADHRI Moncef" userId="895ef482-96ff-4dd4-9c74-0dc92131d96c" providerId="ADAL" clId="{04C08600-B375-4ADC-B3FC-1339CA00158D}" dt="2024-12-18T11:06:51.263" v="809" actId="1076"/>
        <pc:sldMkLst>
          <pc:docMk/>
          <pc:sldMk cId="160286315" sldId="533"/>
        </pc:sldMkLst>
        <pc:spChg chg="mod">
          <ac:chgData name="HADHRI Moncef" userId="895ef482-96ff-4dd4-9c74-0dc92131d96c" providerId="ADAL" clId="{04C08600-B375-4ADC-B3FC-1339CA00158D}" dt="2024-12-18T11:06:38.381" v="808" actId="14100"/>
          <ac:spMkLst>
            <pc:docMk/>
            <pc:sldMk cId="160286315" sldId="533"/>
            <ac:spMk id="2" creationId="{00000000-0000-0000-0000-000000000000}"/>
          </ac:spMkLst>
        </pc:spChg>
        <pc:picChg chg="add mod">
          <ac:chgData name="HADHRI Moncef" userId="895ef482-96ff-4dd4-9c74-0dc92131d96c" providerId="ADAL" clId="{04C08600-B375-4ADC-B3FC-1339CA00158D}" dt="2024-12-18T11:06:51.263" v="809" actId="1076"/>
          <ac:picMkLst>
            <pc:docMk/>
            <pc:sldMk cId="160286315" sldId="533"/>
            <ac:picMk id="5" creationId="{07353294-05F2-242B-EEF7-2ED70693CF2C}"/>
          </ac:picMkLst>
        </pc:picChg>
      </pc:sldChg>
      <pc:sldChg chg="addSp delSp modSp mod">
        <pc:chgData name="HADHRI Moncef" userId="895ef482-96ff-4dd4-9c74-0dc92131d96c" providerId="ADAL" clId="{04C08600-B375-4ADC-B3FC-1339CA00158D}" dt="2024-12-18T11:07:58.991" v="821" actId="1076"/>
        <pc:sldMkLst>
          <pc:docMk/>
          <pc:sldMk cId="3408810239" sldId="534"/>
        </pc:sldMkLst>
        <pc:spChg chg="mod">
          <ac:chgData name="HADHRI Moncef" userId="895ef482-96ff-4dd4-9c74-0dc92131d96c" providerId="ADAL" clId="{04C08600-B375-4ADC-B3FC-1339CA00158D}" dt="2024-12-18T11:07:12.290" v="816" actId="2711"/>
          <ac:spMkLst>
            <pc:docMk/>
            <pc:sldMk cId="3408810239" sldId="534"/>
            <ac:spMk id="2" creationId="{00000000-0000-0000-0000-000000000000}"/>
          </ac:spMkLst>
        </pc:spChg>
        <pc:picChg chg="add mod">
          <ac:chgData name="HADHRI Moncef" userId="895ef482-96ff-4dd4-9c74-0dc92131d96c" providerId="ADAL" clId="{04C08600-B375-4ADC-B3FC-1339CA00158D}" dt="2024-12-18T11:07:58.991" v="821" actId="1076"/>
          <ac:picMkLst>
            <pc:docMk/>
            <pc:sldMk cId="3408810239" sldId="534"/>
            <ac:picMk id="6" creationId="{E75C7A7C-4620-B963-1BB6-7C2F101EF95C}"/>
          </ac:picMkLst>
        </pc:picChg>
      </pc:sldChg>
      <pc:sldChg chg="addSp delSp modSp mod">
        <pc:chgData name="HADHRI Moncef" userId="895ef482-96ff-4dd4-9c74-0dc92131d96c" providerId="ADAL" clId="{04C08600-B375-4ADC-B3FC-1339CA00158D}" dt="2024-12-18T11:55:59.911" v="1443" actId="113"/>
        <pc:sldMkLst>
          <pc:docMk/>
          <pc:sldMk cId="1580970320" sldId="536"/>
        </pc:sldMkLst>
        <pc:spChg chg="mod">
          <ac:chgData name="HADHRI Moncef" userId="895ef482-96ff-4dd4-9c74-0dc92131d96c" providerId="ADAL" clId="{04C08600-B375-4ADC-B3FC-1339CA00158D}" dt="2024-12-18T11:55:59.911" v="1443" actId="113"/>
          <ac:spMkLst>
            <pc:docMk/>
            <pc:sldMk cId="1580970320" sldId="536"/>
            <ac:spMk id="2" creationId="{00000000-0000-0000-0000-000000000000}"/>
          </ac:spMkLst>
        </pc:spChg>
        <pc:picChg chg="add mod">
          <ac:chgData name="HADHRI Moncef" userId="895ef482-96ff-4dd4-9c74-0dc92131d96c" providerId="ADAL" clId="{04C08600-B375-4ADC-B3FC-1339CA00158D}" dt="2024-12-18T11:25:40.309" v="959" actId="1076"/>
          <ac:picMkLst>
            <pc:docMk/>
            <pc:sldMk cId="1580970320" sldId="536"/>
            <ac:picMk id="6" creationId="{CE4370C3-B7B1-D6AA-B6BF-00B2D2745F98}"/>
          </ac:picMkLst>
        </pc:picChg>
      </pc:sldChg>
      <pc:sldChg chg="addSp delSp modSp mod">
        <pc:chgData name="HADHRI Moncef" userId="895ef482-96ff-4dd4-9c74-0dc92131d96c" providerId="ADAL" clId="{04C08600-B375-4ADC-B3FC-1339CA00158D}" dt="2024-12-18T11:26:54.696" v="975" actId="1076"/>
        <pc:sldMkLst>
          <pc:docMk/>
          <pc:sldMk cId="3992291547" sldId="537"/>
        </pc:sldMkLst>
        <pc:spChg chg="mod">
          <ac:chgData name="HADHRI Moncef" userId="895ef482-96ff-4dd4-9c74-0dc92131d96c" providerId="ADAL" clId="{04C08600-B375-4ADC-B3FC-1339CA00158D}" dt="2024-12-18T11:26:30.930" v="971" actId="113"/>
          <ac:spMkLst>
            <pc:docMk/>
            <pc:sldMk cId="3992291547" sldId="537"/>
            <ac:spMk id="2" creationId="{00000000-0000-0000-0000-000000000000}"/>
          </ac:spMkLst>
        </pc:spChg>
        <pc:picChg chg="add mod">
          <ac:chgData name="HADHRI Moncef" userId="895ef482-96ff-4dd4-9c74-0dc92131d96c" providerId="ADAL" clId="{04C08600-B375-4ADC-B3FC-1339CA00158D}" dt="2024-12-18T11:26:54.696" v="975" actId="1076"/>
          <ac:picMkLst>
            <pc:docMk/>
            <pc:sldMk cId="3992291547" sldId="537"/>
            <ac:picMk id="6" creationId="{E65418A4-03ED-8B2F-33B7-F55D64A3C638}"/>
          </ac:picMkLst>
        </pc:picChg>
      </pc:sldChg>
      <pc:sldChg chg="addSp delSp modSp mod">
        <pc:chgData name="HADHRI Moncef" userId="895ef482-96ff-4dd4-9c74-0dc92131d96c" providerId="ADAL" clId="{04C08600-B375-4ADC-B3FC-1339CA00158D}" dt="2024-12-18T11:56:50.700" v="1466" actId="1076"/>
        <pc:sldMkLst>
          <pc:docMk/>
          <pc:sldMk cId="4234730277" sldId="538"/>
        </pc:sldMkLst>
        <pc:spChg chg="mod">
          <ac:chgData name="HADHRI Moncef" userId="895ef482-96ff-4dd4-9c74-0dc92131d96c" providerId="ADAL" clId="{04C08600-B375-4ADC-B3FC-1339CA00158D}" dt="2024-12-18T11:56:50.700" v="1466" actId="1076"/>
          <ac:spMkLst>
            <pc:docMk/>
            <pc:sldMk cId="4234730277" sldId="538"/>
            <ac:spMk id="2" creationId="{00000000-0000-0000-0000-000000000000}"/>
          </ac:spMkLst>
        </pc:spChg>
        <pc:picChg chg="add mod">
          <ac:chgData name="HADHRI Moncef" userId="895ef482-96ff-4dd4-9c74-0dc92131d96c" providerId="ADAL" clId="{04C08600-B375-4ADC-B3FC-1339CA00158D}" dt="2024-12-18T11:27:19.479" v="979" actId="1076"/>
          <ac:picMkLst>
            <pc:docMk/>
            <pc:sldMk cId="4234730277" sldId="538"/>
            <ac:picMk id="6" creationId="{7088C343-59C7-7DB0-435E-87D790BF043D}"/>
          </ac:picMkLst>
        </pc:picChg>
      </pc:sldChg>
      <pc:sldChg chg="addSp delSp modSp mod">
        <pc:chgData name="HADHRI Moncef" userId="895ef482-96ff-4dd4-9c74-0dc92131d96c" providerId="ADAL" clId="{04C08600-B375-4ADC-B3FC-1339CA00158D}" dt="2024-12-18T11:29:46.545" v="1017" actId="2711"/>
        <pc:sldMkLst>
          <pc:docMk/>
          <pc:sldMk cId="4125945156" sldId="539"/>
        </pc:sldMkLst>
        <pc:spChg chg="mod">
          <ac:chgData name="HADHRI Moncef" userId="895ef482-96ff-4dd4-9c74-0dc92131d96c" providerId="ADAL" clId="{04C08600-B375-4ADC-B3FC-1339CA00158D}" dt="2024-12-18T11:29:46.545" v="1017" actId="2711"/>
          <ac:spMkLst>
            <pc:docMk/>
            <pc:sldMk cId="4125945156" sldId="539"/>
            <ac:spMk id="2" creationId="{00000000-0000-0000-0000-000000000000}"/>
          </ac:spMkLst>
        </pc:spChg>
        <pc:picChg chg="add mod">
          <ac:chgData name="HADHRI Moncef" userId="895ef482-96ff-4dd4-9c74-0dc92131d96c" providerId="ADAL" clId="{04C08600-B375-4ADC-B3FC-1339CA00158D}" dt="2024-12-18T11:28:49.829" v="998" actId="14100"/>
          <ac:picMkLst>
            <pc:docMk/>
            <pc:sldMk cId="4125945156" sldId="539"/>
            <ac:picMk id="6" creationId="{2CCA1C2F-F8E4-1A5D-50DB-CCE76266DE6F}"/>
          </ac:picMkLst>
        </pc:picChg>
      </pc:sldChg>
      <pc:sldChg chg="addSp delSp modSp mod">
        <pc:chgData name="HADHRI Moncef" userId="895ef482-96ff-4dd4-9c74-0dc92131d96c" providerId="ADAL" clId="{04C08600-B375-4ADC-B3FC-1339CA00158D}" dt="2024-12-18T12:48:09.986" v="1515" actId="20577"/>
        <pc:sldMkLst>
          <pc:docMk/>
          <pc:sldMk cId="1691932536" sldId="540"/>
        </pc:sldMkLst>
        <pc:spChg chg="mod">
          <ac:chgData name="HADHRI Moncef" userId="895ef482-96ff-4dd4-9c74-0dc92131d96c" providerId="ADAL" clId="{04C08600-B375-4ADC-B3FC-1339CA00158D}" dt="2024-12-18T12:48:09.986" v="1515" actId="20577"/>
          <ac:spMkLst>
            <pc:docMk/>
            <pc:sldMk cId="1691932536" sldId="540"/>
            <ac:spMk id="2" creationId="{00000000-0000-0000-0000-000000000000}"/>
          </ac:spMkLst>
        </pc:spChg>
        <pc:picChg chg="add mod">
          <ac:chgData name="HADHRI Moncef" userId="895ef482-96ff-4dd4-9c74-0dc92131d96c" providerId="ADAL" clId="{04C08600-B375-4ADC-B3FC-1339CA00158D}" dt="2024-12-18T11:29:15.583" v="1002" actId="1076"/>
          <ac:picMkLst>
            <pc:docMk/>
            <pc:sldMk cId="1691932536" sldId="540"/>
            <ac:picMk id="5" creationId="{DA21B2D7-0EA2-0F28-FB64-8CD4E3B56221}"/>
          </ac:picMkLst>
        </pc:picChg>
      </pc:sldChg>
      <pc:sldChg chg="addSp delSp modSp mod">
        <pc:chgData name="HADHRI Moncef" userId="895ef482-96ff-4dd4-9c74-0dc92131d96c" providerId="ADAL" clId="{04C08600-B375-4ADC-B3FC-1339CA00158D}" dt="2024-12-18T11:04:39.639" v="764" actId="1076"/>
        <pc:sldMkLst>
          <pc:docMk/>
          <pc:sldMk cId="2969974098" sldId="546"/>
        </pc:sldMkLst>
        <pc:spChg chg="mod">
          <ac:chgData name="HADHRI Moncef" userId="895ef482-96ff-4dd4-9c74-0dc92131d96c" providerId="ADAL" clId="{04C08600-B375-4ADC-B3FC-1339CA00158D}" dt="2024-12-18T11:04:29.474" v="762" actId="207"/>
          <ac:spMkLst>
            <pc:docMk/>
            <pc:sldMk cId="2969974098" sldId="546"/>
            <ac:spMk id="7171" creationId="{00000000-0000-0000-0000-000000000000}"/>
          </ac:spMkLst>
        </pc:spChg>
        <pc:picChg chg="mod">
          <ac:chgData name="HADHRI Moncef" userId="895ef482-96ff-4dd4-9c74-0dc92131d96c" providerId="ADAL" clId="{04C08600-B375-4ADC-B3FC-1339CA00158D}" dt="2024-12-18T11:04:39.639" v="764" actId="1076"/>
          <ac:picMkLst>
            <pc:docMk/>
            <pc:sldMk cId="2969974098" sldId="546"/>
            <ac:picMk id="7" creationId="{C923272D-8B18-5A7D-8FF0-732963FFB160}"/>
          </ac:picMkLst>
        </pc:picChg>
      </pc:sldChg>
      <pc:sldChg chg="addSp delSp modSp mod">
        <pc:chgData name="HADHRI Moncef" userId="895ef482-96ff-4dd4-9c74-0dc92131d96c" providerId="ADAL" clId="{04C08600-B375-4ADC-B3FC-1339CA00158D}" dt="2024-12-18T11:02:12.391" v="727" actId="1076"/>
        <pc:sldMkLst>
          <pc:docMk/>
          <pc:sldMk cId="4149952134" sldId="547"/>
        </pc:sldMkLst>
        <pc:spChg chg="mod">
          <ac:chgData name="HADHRI Moncef" userId="895ef482-96ff-4dd4-9c74-0dc92131d96c" providerId="ADAL" clId="{04C08600-B375-4ADC-B3FC-1339CA00158D}" dt="2024-12-18T11:02:12.391" v="727" actId="1076"/>
          <ac:spMkLst>
            <pc:docMk/>
            <pc:sldMk cId="4149952134" sldId="547"/>
            <ac:spMk id="2" creationId="{07A733BF-2020-DB2D-D701-8A85F5AB89BD}"/>
          </ac:spMkLst>
        </pc:spChg>
      </pc:sldChg>
      <pc:sldChg chg="addSp delSp modSp mod">
        <pc:chgData name="HADHRI Moncef" userId="895ef482-96ff-4dd4-9c74-0dc92131d96c" providerId="ADAL" clId="{04C08600-B375-4ADC-B3FC-1339CA00158D}" dt="2024-12-18T11:05:48.502" v="796" actId="1076"/>
        <pc:sldMkLst>
          <pc:docMk/>
          <pc:sldMk cId="2657724479" sldId="548"/>
        </pc:sldMkLst>
        <pc:spChg chg="mod">
          <ac:chgData name="HADHRI Moncef" userId="895ef482-96ff-4dd4-9c74-0dc92131d96c" providerId="ADAL" clId="{04C08600-B375-4ADC-B3FC-1339CA00158D}" dt="2024-12-18T11:05:43.882" v="794" actId="2711"/>
          <ac:spMkLst>
            <pc:docMk/>
            <pc:sldMk cId="2657724479" sldId="548"/>
            <ac:spMk id="7171" creationId="{00000000-0000-0000-0000-000000000000}"/>
          </ac:spMkLst>
        </pc:spChg>
        <pc:picChg chg="mod">
          <ac:chgData name="HADHRI Moncef" userId="895ef482-96ff-4dd4-9c74-0dc92131d96c" providerId="ADAL" clId="{04C08600-B375-4ADC-B3FC-1339CA00158D}" dt="2024-12-18T11:05:48.502" v="796" actId="1076"/>
          <ac:picMkLst>
            <pc:docMk/>
            <pc:sldMk cId="2657724479" sldId="548"/>
            <ac:picMk id="7" creationId="{FC391D90-EEA9-F82E-99A6-08E6D973625B}"/>
          </ac:picMkLst>
        </pc:picChg>
      </pc:sldChg>
      <pc:sldChg chg="addSp delSp modSp mod">
        <pc:chgData name="HADHRI Moncef" userId="895ef482-96ff-4dd4-9c74-0dc92131d96c" providerId="ADAL" clId="{04C08600-B375-4ADC-B3FC-1339CA00158D}" dt="2024-12-18T11:03:25.326" v="750" actId="1076"/>
        <pc:sldMkLst>
          <pc:docMk/>
          <pc:sldMk cId="4068901997" sldId="549"/>
        </pc:sldMkLst>
        <pc:spChg chg="mod">
          <ac:chgData name="HADHRI Moncef" userId="895ef482-96ff-4dd4-9c74-0dc92131d96c" providerId="ADAL" clId="{04C08600-B375-4ADC-B3FC-1339CA00158D}" dt="2024-12-18T11:03:25.326" v="750" actId="1076"/>
          <ac:spMkLst>
            <pc:docMk/>
            <pc:sldMk cId="4068901997" sldId="549"/>
            <ac:spMk id="9" creationId="{9A422980-625F-BA23-4801-1CF91D5E65B4}"/>
          </ac:spMkLst>
        </pc:spChg>
      </pc:sldChg>
      <pc:sldChg chg="addSp delSp modSp mod">
        <pc:chgData name="HADHRI Moncef" userId="895ef482-96ff-4dd4-9c74-0dc92131d96c" providerId="ADAL" clId="{04C08600-B375-4ADC-B3FC-1339CA00158D}" dt="2024-12-18T10:54:59.136" v="580" actId="1076"/>
        <pc:sldMkLst>
          <pc:docMk/>
          <pc:sldMk cId="2066674344" sldId="2134805399"/>
        </pc:sldMkLst>
        <pc:spChg chg="mod">
          <ac:chgData name="HADHRI Moncef" userId="895ef482-96ff-4dd4-9c74-0dc92131d96c" providerId="ADAL" clId="{04C08600-B375-4ADC-B3FC-1339CA00158D}" dt="2024-12-18T10:54:59.136" v="580" actId="1076"/>
          <ac:spMkLst>
            <pc:docMk/>
            <pc:sldMk cId="2066674344" sldId="2134805399"/>
            <ac:spMk id="7" creationId="{F0256EB7-3272-D0F1-22AB-2DCDD789D564}"/>
          </ac:spMkLst>
        </pc:spChg>
        <pc:picChg chg="add mod">
          <ac:chgData name="HADHRI Moncef" userId="895ef482-96ff-4dd4-9c74-0dc92131d96c" providerId="ADAL" clId="{04C08600-B375-4ADC-B3FC-1339CA00158D}" dt="2024-12-18T10:53:36.552" v="572" actId="1076"/>
          <ac:picMkLst>
            <pc:docMk/>
            <pc:sldMk cId="2066674344" sldId="2134805399"/>
            <ac:picMk id="5" creationId="{71C8FD89-EE1E-2BDC-048D-D22512548024}"/>
          </ac:picMkLst>
        </pc:picChg>
      </pc:sldChg>
      <pc:sldChg chg="addSp delSp modSp mod">
        <pc:chgData name="HADHRI Moncef" userId="895ef482-96ff-4dd4-9c74-0dc92131d96c" providerId="ADAL" clId="{04C08600-B375-4ADC-B3FC-1339CA00158D}" dt="2024-12-18T13:45:53.398" v="1527" actId="1076"/>
        <pc:sldMkLst>
          <pc:docMk/>
          <pc:sldMk cId="2170594155" sldId="2134805400"/>
        </pc:sldMkLst>
        <pc:spChg chg="mod">
          <ac:chgData name="HADHRI Moncef" userId="895ef482-96ff-4dd4-9c74-0dc92131d96c" providerId="ADAL" clId="{04C08600-B375-4ADC-B3FC-1339CA00158D}" dt="2024-12-18T11:31:45.037" v="1045" actId="1076"/>
          <ac:spMkLst>
            <pc:docMk/>
            <pc:sldMk cId="2170594155" sldId="2134805400"/>
            <ac:spMk id="2" creationId="{00000000-0000-0000-0000-000000000000}"/>
          </ac:spMkLst>
        </pc:spChg>
        <pc:picChg chg="add mod">
          <ac:chgData name="HADHRI Moncef" userId="895ef482-96ff-4dd4-9c74-0dc92131d96c" providerId="ADAL" clId="{04C08600-B375-4ADC-B3FC-1339CA00158D}" dt="2024-12-18T13:45:53.398" v="1527" actId="1076"/>
          <ac:picMkLst>
            <pc:docMk/>
            <pc:sldMk cId="2170594155" sldId="2134805400"/>
            <ac:picMk id="4" creationId="{BDCABE15-D497-5AD1-5808-3D44489C1608}"/>
          </ac:picMkLst>
        </pc:picChg>
      </pc:sldChg>
      <pc:sldChg chg="addSp delSp modSp mod">
        <pc:chgData name="HADHRI Moncef" userId="895ef482-96ff-4dd4-9c74-0dc92131d96c" providerId="ADAL" clId="{04C08600-B375-4ADC-B3FC-1339CA00158D}" dt="2024-12-18T13:46:19.721" v="1531" actId="1076"/>
        <pc:sldMkLst>
          <pc:docMk/>
          <pc:sldMk cId="1990773259" sldId="2134805401"/>
        </pc:sldMkLst>
        <pc:spChg chg="mod">
          <ac:chgData name="HADHRI Moncef" userId="895ef482-96ff-4dd4-9c74-0dc92131d96c" providerId="ADAL" clId="{04C08600-B375-4ADC-B3FC-1339CA00158D}" dt="2024-12-18T11:44:22.009" v="1152" actId="1076"/>
          <ac:spMkLst>
            <pc:docMk/>
            <pc:sldMk cId="1990773259" sldId="2134805401"/>
            <ac:spMk id="2" creationId="{00000000-0000-0000-0000-000000000000}"/>
          </ac:spMkLst>
        </pc:spChg>
        <pc:picChg chg="add mod">
          <ac:chgData name="HADHRI Moncef" userId="895ef482-96ff-4dd4-9c74-0dc92131d96c" providerId="ADAL" clId="{04C08600-B375-4ADC-B3FC-1339CA00158D}" dt="2024-12-18T13:46:19.721" v="1531" actId="1076"/>
          <ac:picMkLst>
            <pc:docMk/>
            <pc:sldMk cId="1990773259" sldId="2134805401"/>
            <ac:picMk id="4" creationId="{7ABD1738-00E3-E4DB-5E69-1B60F7D2CB8C}"/>
          </ac:picMkLst>
        </pc:picChg>
      </pc:sldChg>
      <pc:sldChg chg="addSp delSp modSp mod">
        <pc:chgData name="HADHRI Moncef" userId="895ef482-96ff-4dd4-9c74-0dc92131d96c" providerId="ADAL" clId="{04C08600-B375-4ADC-B3FC-1339CA00158D}" dt="2024-12-18T10:45:59.910" v="430" actId="1076"/>
        <pc:sldMkLst>
          <pc:docMk/>
          <pc:sldMk cId="579598447" sldId="2134805417"/>
        </pc:sldMkLst>
        <pc:spChg chg="mod">
          <ac:chgData name="HADHRI Moncef" userId="895ef482-96ff-4dd4-9c74-0dc92131d96c" providerId="ADAL" clId="{04C08600-B375-4ADC-B3FC-1339CA00158D}" dt="2024-12-18T10:45:59.910" v="430" actId="1076"/>
          <ac:spMkLst>
            <pc:docMk/>
            <pc:sldMk cId="579598447" sldId="2134805417"/>
            <ac:spMk id="7" creationId="{00000000-0000-0000-0000-000000000000}"/>
          </ac:spMkLst>
        </pc:spChg>
      </pc:sldChg>
      <pc:sldChg chg="addSp modSp del">
        <pc:chgData name="HADHRI Moncef" userId="895ef482-96ff-4dd4-9c74-0dc92131d96c" providerId="ADAL" clId="{04C08600-B375-4ADC-B3FC-1339CA00158D}" dt="2024-10-30T14:56:20.405" v="145" actId="47"/>
        <pc:sldMkLst>
          <pc:docMk/>
          <pc:sldMk cId="1782097978" sldId="2134805418"/>
        </pc:sldMkLst>
      </pc:sldChg>
      <pc:sldChg chg="addSp delSp modSp del mod">
        <pc:chgData name="HADHRI Moncef" userId="895ef482-96ff-4dd4-9c74-0dc92131d96c" providerId="ADAL" clId="{04C08600-B375-4ADC-B3FC-1339CA00158D}" dt="2024-12-18T10:57:10.037" v="616" actId="47"/>
        <pc:sldMkLst>
          <pc:docMk/>
          <pc:sldMk cId="1043698645" sldId="2134805912"/>
        </pc:sldMkLst>
      </pc:sldChg>
      <pc:sldChg chg="addSp delSp modSp mod">
        <pc:chgData name="HADHRI Moncef" userId="895ef482-96ff-4dd4-9c74-0dc92131d96c" providerId="ADAL" clId="{04C08600-B375-4ADC-B3FC-1339CA00158D}" dt="2024-12-20T14:48:57.285" v="1547" actId="1076"/>
        <pc:sldMkLst>
          <pc:docMk/>
          <pc:sldMk cId="1650159124" sldId="2134805967"/>
        </pc:sldMkLst>
        <pc:spChg chg="mod">
          <ac:chgData name="HADHRI Moncef" userId="895ef482-96ff-4dd4-9c74-0dc92131d96c" providerId="ADAL" clId="{04C08600-B375-4ADC-B3FC-1339CA00158D}" dt="2024-12-18T11:47:18.560" v="1164" actId="13926"/>
          <ac:spMkLst>
            <pc:docMk/>
            <pc:sldMk cId="1650159124" sldId="2134805967"/>
            <ac:spMk id="2" creationId="{856E19AE-0A7B-4174-EF1E-1E1EF13D8B4C}"/>
          </ac:spMkLst>
        </pc:spChg>
        <pc:picChg chg="add mod">
          <ac:chgData name="HADHRI Moncef" userId="895ef482-96ff-4dd4-9c74-0dc92131d96c" providerId="ADAL" clId="{04C08600-B375-4ADC-B3FC-1339CA00158D}" dt="2024-12-20T14:48:57.285" v="1547" actId="1076"/>
          <ac:picMkLst>
            <pc:docMk/>
            <pc:sldMk cId="1650159124" sldId="2134805967"/>
            <ac:picMk id="4" creationId="{09CDFDDA-F0DF-066D-73C4-2C38935D741E}"/>
          </ac:picMkLst>
        </pc:picChg>
      </pc:sldChg>
      <pc:sldChg chg="addSp delSp modSp mod">
        <pc:chgData name="HADHRI Moncef" userId="895ef482-96ff-4dd4-9c74-0dc92131d96c" providerId="ADAL" clId="{04C08600-B375-4ADC-B3FC-1339CA00158D}" dt="2024-12-18T10:55:47.710" v="603" actId="1076"/>
        <pc:sldMkLst>
          <pc:docMk/>
          <pc:sldMk cId="3892585237" sldId="2134805968"/>
        </pc:sldMkLst>
        <pc:spChg chg="mod">
          <ac:chgData name="HADHRI Moncef" userId="895ef482-96ff-4dd4-9c74-0dc92131d96c" providerId="ADAL" clId="{04C08600-B375-4ADC-B3FC-1339CA00158D}" dt="2024-12-18T10:55:47.710" v="603" actId="1076"/>
          <ac:spMkLst>
            <pc:docMk/>
            <pc:sldMk cId="3892585237" sldId="2134805968"/>
            <ac:spMk id="7" creationId="{F0256EB7-3272-D0F1-22AB-2DCDD789D564}"/>
          </ac:spMkLst>
        </pc:spChg>
        <pc:picChg chg="add mod">
          <ac:chgData name="HADHRI Moncef" userId="895ef482-96ff-4dd4-9c74-0dc92131d96c" providerId="ADAL" clId="{04C08600-B375-4ADC-B3FC-1339CA00158D}" dt="2024-12-18T10:55:44.646" v="602" actId="1076"/>
          <ac:picMkLst>
            <pc:docMk/>
            <pc:sldMk cId="3892585237" sldId="2134805968"/>
            <ac:picMk id="9" creationId="{0024B66B-110D-0298-EDED-64C313566FBE}"/>
          </ac:picMkLst>
        </pc:picChg>
      </pc:sldChg>
      <pc:sldChg chg="add del">
        <pc:chgData name="HADHRI Moncef" userId="895ef482-96ff-4dd4-9c74-0dc92131d96c" providerId="ADAL" clId="{04C08600-B375-4ADC-B3FC-1339CA00158D}" dt="2024-12-18T10:52:58.758" v="564" actId="47"/>
        <pc:sldMkLst>
          <pc:docMk/>
          <pc:sldMk cId="3864041863" sldId="2134805969"/>
        </pc:sldMkLst>
      </pc:sldChg>
      <pc:sldChg chg="addSp delSp modSp add mod">
        <pc:chgData name="HADHRI Moncef" userId="895ef482-96ff-4dd4-9c74-0dc92131d96c" providerId="ADAL" clId="{04C08600-B375-4ADC-B3FC-1339CA00158D}" dt="2024-12-18T10:40:17.858" v="320" actId="1076"/>
        <pc:sldMkLst>
          <pc:docMk/>
          <pc:sldMk cId="3858217911" sldId="2134805970"/>
        </pc:sldMkLst>
        <pc:picChg chg="add mod">
          <ac:chgData name="HADHRI Moncef" userId="895ef482-96ff-4dd4-9c74-0dc92131d96c" providerId="ADAL" clId="{04C08600-B375-4ADC-B3FC-1339CA00158D}" dt="2024-12-18T10:40:17.858" v="320" actId="1076"/>
          <ac:picMkLst>
            <pc:docMk/>
            <pc:sldMk cId="3858217911" sldId="2134805970"/>
            <ac:picMk id="3" creationId="{72A7B4E0-196E-D46B-109B-B77B192C74CA}"/>
          </ac:picMkLst>
        </pc:picChg>
      </pc:sldChg>
      <pc:sldChg chg="add del">
        <pc:chgData name="HADHRI Moncef" userId="895ef482-96ff-4dd4-9c74-0dc92131d96c" providerId="ADAL" clId="{04C08600-B375-4ADC-B3FC-1339CA00158D}" dt="2024-12-20T11:14:19.431" v="1533"/>
        <pc:sldMkLst>
          <pc:docMk/>
          <pc:sldMk cId="1569839953" sldId="2134805971"/>
        </pc:sldMkLst>
      </pc:sldChg>
      <pc:sldMasterChg chg="delSldLayout">
        <pc:chgData name="HADHRI Moncef" userId="895ef482-96ff-4dd4-9c74-0dc92131d96c" providerId="ADAL" clId="{04C08600-B375-4ADC-B3FC-1339CA00158D}" dt="2024-12-18T10:57:10.037" v="616" actId="47"/>
        <pc:sldMasterMkLst>
          <pc:docMk/>
          <pc:sldMasterMk cId="4165347282" sldId="2147483648"/>
        </pc:sldMasterMkLst>
        <pc:sldLayoutChg chg="del">
          <pc:chgData name="HADHRI Moncef" userId="895ef482-96ff-4dd4-9c74-0dc92131d96c" providerId="ADAL" clId="{04C08600-B375-4ADC-B3FC-1339CA00158D}" dt="2024-12-18T10:57:10.037" v="616" actId="47"/>
          <pc:sldLayoutMkLst>
            <pc:docMk/>
            <pc:sldMasterMk cId="4165347282" sldId="2147483648"/>
            <pc:sldLayoutMk cId="2630375120" sldId="2147483677"/>
          </pc:sldLayoutMkLst>
        </pc:sldLayoutChg>
      </pc:sldMasterChg>
    </pc:docChg>
  </pc:docChgLst>
  <pc:docChgLst>
    <pc:chgData name="HADHRI Moncef" userId="895ef482-96ff-4dd4-9c74-0dc92131d96c" providerId="ADAL" clId="{F11B17EA-5B55-40F5-B7B2-2B6278F1A95C}"/>
    <pc:docChg chg="undo custSel modSld">
      <pc:chgData name="HADHRI Moncef" userId="895ef482-96ff-4dd4-9c74-0dc92131d96c" providerId="ADAL" clId="{F11B17EA-5B55-40F5-B7B2-2B6278F1A95C}" dt="2022-12-12T14:48:26.795" v="220" actId="1076"/>
      <pc:docMkLst>
        <pc:docMk/>
      </pc:docMkLst>
      <pc:sldChg chg="delSp modSp mod">
        <pc:chgData name="HADHRI Moncef" userId="895ef482-96ff-4dd4-9c74-0dc92131d96c" providerId="ADAL" clId="{F11B17EA-5B55-40F5-B7B2-2B6278F1A95C}" dt="2022-12-01T12:43:31.408" v="95" actId="20577"/>
        <pc:sldMkLst>
          <pc:docMk/>
          <pc:sldMk cId="687316141" sldId="375"/>
        </pc:sldMkLst>
      </pc:sldChg>
      <pc:sldChg chg="delSp modSp mod">
        <pc:chgData name="HADHRI Moncef" userId="895ef482-96ff-4dd4-9c74-0dc92131d96c" providerId="ADAL" clId="{F11B17EA-5B55-40F5-B7B2-2B6278F1A95C}" dt="2022-12-01T12:44:57.428" v="171" actId="1076"/>
        <pc:sldMkLst>
          <pc:docMk/>
          <pc:sldMk cId="3203527764" sldId="378"/>
        </pc:sldMkLst>
      </pc:sldChg>
      <pc:sldChg chg="delSp modSp mod">
        <pc:chgData name="HADHRI Moncef" userId="895ef482-96ff-4dd4-9c74-0dc92131d96c" providerId="ADAL" clId="{F11B17EA-5B55-40F5-B7B2-2B6278F1A95C}" dt="2022-12-12T14:33:23.093" v="214" actId="1076"/>
        <pc:sldMkLst>
          <pc:docMk/>
          <pc:sldMk cId="1067430973" sldId="415"/>
        </pc:sldMkLst>
      </pc:sldChg>
      <pc:sldChg chg="delSp modSp mod">
        <pc:chgData name="HADHRI Moncef" userId="895ef482-96ff-4dd4-9c74-0dc92131d96c" providerId="ADAL" clId="{F11B17EA-5B55-40F5-B7B2-2B6278F1A95C}" dt="2022-12-06T15:40:07.259" v="185" actId="1076"/>
        <pc:sldMkLst>
          <pc:docMk/>
          <pc:sldMk cId="1348273151" sldId="432"/>
        </pc:sldMkLst>
      </pc:sldChg>
      <pc:sldChg chg="delSp modSp mod">
        <pc:chgData name="HADHRI Moncef" userId="895ef482-96ff-4dd4-9c74-0dc92131d96c" providerId="ADAL" clId="{F11B17EA-5B55-40F5-B7B2-2B6278F1A95C}" dt="2022-12-12T10:03:49.505" v="201" actId="1076"/>
        <pc:sldMkLst>
          <pc:docMk/>
          <pc:sldMk cId="2264595889" sldId="478"/>
        </pc:sldMkLst>
      </pc:sldChg>
      <pc:sldChg chg="delSp modSp mod">
        <pc:chgData name="HADHRI Moncef" userId="895ef482-96ff-4dd4-9c74-0dc92131d96c" providerId="ADAL" clId="{F11B17EA-5B55-40F5-B7B2-2B6278F1A95C}" dt="2022-12-12T10:30:59.479" v="208" actId="1076"/>
        <pc:sldMkLst>
          <pc:docMk/>
          <pc:sldMk cId="1623204966" sldId="481"/>
        </pc:sldMkLst>
      </pc:sldChg>
      <pc:sldChg chg="delSp modSp mod">
        <pc:chgData name="HADHRI Moncef" userId="895ef482-96ff-4dd4-9c74-0dc92131d96c" providerId="ADAL" clId="{F11B17EA-5B55-40F5-B7B2-2B6278F1A95C}" dt="2022-12-12T09:05:59.840" v="192" actId="1076"/>
        <pc:sldMkLst>
          <pc:docMk/>
          <pc:sldMk cId="3050253954" sldId="483"/>
        </pc:sldMkLst>
      </pc:sldChg>
      <pc:sldChg chg="delSp modSp mod">
        <pc:chgData name="HADHRI Moncef" userId="895ef482-96ff-4dd4-9c74-0dc92131d96c" providerId="ADAL" clId="{F11B17EA-5B55-40F5-B7B2-2B6278F1A95C}" dt="2022-12-01T11:51:18.370" v="7" actId="1076"/>
        <pc:sldMkLst>
          <pc:docMk/>
          <pc:sldMk cId="3842426781" sldId="498"/>
        </pc:sldMkLst>
      </pc:sldChg>
      <pc:sldChg chg="delSp modSp mod">
        <pc:chgData name="HADHRI Moncef" userId="895ef482-96ff-4dd4-9c74-0dc92131d96c" providerId="ADAL" clId="{F11B17EA-5B55-40F5-B7B2-2B6278F1A95C}" dt="2022-12-12T08:18:35.441" v="188" actId="1076"/>
        <pc:sldMkLst>
          <pc:docMk/>
          <pc:sldMk cId="3132958973" sldId="502"/>
        </pc:sldMkLst>
      </pc:sldChg>
      <pc:sldChg chg="delSp mod">
        <pc:chgData name="HADHRI Moncef" userId="895ef482-96ff-4dd4-9c74-0dc92131d96c" providerId="ADAL" clId="{F11B17EA-5B55-40F5-B7B2-2B6278F1A95C}" dt="2022-12-01T13:54:07.608" v="177" actId="478"/>
        <pc:sldMkLst>
          <pc:docMk/>
          <pc:sldMk cId="4181001190" sldId="506"/>
        </pc:sldMkLst>
      </pc:sldChg>
      <pc:sldChg chg="delSp modSp mod">
        <pc:chgData name="HADHRI Moncef" userId="895ef482-96ff-4dd4-9c74-0dc92131d96c" providerId="ADAL" clId="{F11B17EA-5B55-40F5-B7B2-2B6278F1A95C}" dt="2022-12-12T14:29:23.958" v="211" actId="14100"/>
        <pc:sldMkLst>
          <pc:docMk/>
          <pc:sldMk cId="1376106718" sldId="511"/>
        </pc:sldMkLst>
      </pc:sldChg>
      <pc:sldChg chg="delSp modSp mod">
        <pc:chgData name="HADHRI Moncef" userId="895ef482-96ff-4dd4-9c74-0dc92131d96c" providerId="ADAL" clId="{F11B17EA-5B55-40F5-B7B2-2B6278F1A95C}" dt="2022-12-06T14:29:41.783" v="180" actId="1076"/>
        <pc:sldMkLst>
          <pc:docMk/>
          <pc:sldMk cId="1410458262" sldId="517"/>
        </pc:sldMkLst>
      </pc:sldChg>
      <pc:sldChg chg="delSp modSp mod">
        <pc:chgData name="HADHRI Moncef" userId="895ef482-96ff-4dd4-9c74-0dc92131d96c" providerId="ADAL" clId="{F11B17EA-5B55-40F5-B7B2-2B6278F1A95C}" dt="2022-12-01T13:52:59.709" v="176" actId="1076"/>
        <pc:sldMkLst>
          <pc:docMk/>
          <pc:sldMk cId="3652464793" sldId="524"/>
        </pc:sldMkLst>
      </pc:sldChg>
      <pc:sldChg chg="delSp modSp mod">
        <pc:chgData name="HADHRI Moncef" userId="895ef482-96ff-4dd4-9c74-0dc92131d96c" providerId="ADAL" clId="{F11B17EA-5B55-40F5-B7B2-2B6278F1A95C}" dt="2022-12-01T13:15:11.276" v="174" actId="1076"/>
        <pc:sldMkLst>
          <pc:docMk/>
          <pc:sldMk cId="1797321108" sldId="525"/>
        </pc:sldMkLst>
      </pc:sldChg>
      <pc:sldChg chg="delSp modSp mod">
        <pc:chgData name="HADHRI Moncef" userId="895ef482-96ff-4dd4-9c74-0dc92131d96c" providerId="ADAL" clId="{F11B17EA-5B55-40F5-B7B2-2B6278F1A95C}" dt="2022-12-12T14:48:26.795" v="220" actId="1076"/>
        <pc:sldMkLst>
          <pc:docMk/>
          <pc:sldMk cId="399590516" sldId="531"/>
        </pc:sldMkLst>
      </pc:sldChg>
      <pc:sldChg chg="delSp modSp mod">
        <pc:chgData name="HADHRI Moncef" userId="895ef482-96ff-4dd4-9c74-0dc92131d96c" providerId="ADAL" clId="{F11B17EA-5B55-40F5-B7B2-2B6278F1A95C}" dt="2022-12-12T14:43:25.917" v="217" actId="1076"/>
        <pc:sldMkLst>
          <pc:docMk/>
          <pc:sldMk cId="1113706935" sldId="532"/>
        </pc:sldMkLst>
      </pc:sldChg>
      <pc:sldChg chg="delSp modSp mod">
        <pc:chgData name="HADHRI Moncef" userId="895ef482-96ff-4dd4-9c74-0dc92131d96c" providerId="ADAL" clId="{F11B17EA-5B55-40F5-B7B2-2B6278F1A95C}" dt="2022-12-12T09:26:47.921" v="197" actId="1076"/>
        <pc:sldMkLst>
          <pc:docMk/>
          <pc:sldMk cId="4234730277" sldId="538"/>
        </pc:sldMkLst>
      </pc:sldChg>
      <pc:sldChg chg="delSp modSp mod">
        <pc:chgData name="HADHRI Moncef" userId="895ef482-96ff-4dd4-9c74-0dc92131d96c" providerId="ADAL" clId="{F11B17EA-5B55-40F5-B7B2-2B6278F1A95C}" dt="2022-12-12T10:06:01.378" v="206" actId="1076"/>
        <pc:sldMkLst>
          <pc:docMk/>
          <pc:sldMk cId="4125945156" sldId="539"/>
        </pc:sldMkLst>
      </pc:sldChg>
    </pc:docChg>
  </pc:docChgLst>
  <pc:docChgLst>
    <pc:chgData name="HADHRI Moncef" userId="895ef482-96ff-4dd4-9c74-0dc92131d96c" providerId="ADAL" clId="{4C353EDA-4EC6-4E23-A6A4-159B1E871F2B}"/>
    <pc:docChg chg="custSel modSld">
      <pc:chgData name="HADHRI Moncef" userId="895ef482-96ff-4dd4-9c74-0dc92131d96c" providerId="ADAL" clId="{4C353EDA-4EC6-4E23-A6A4-159B1E871F2B}" dt="2023-10-20T13:48:15" v="680" actId="20577"/>
      <pc:docMkLst>
        <pc:docMk/>
      </pc:docMkLst>
      <pc:sldChg chg="addSp modSp mod">
        <pc:chgData name="HADHRI Moncef" userId="895ef482-96ff-4dd4-9c74-0dc92131d96c" providerId="ADAL" clId="{4C353EDA-4EC6-4E23-A6A4-159B1E871F2B}" dt="2023-10-20T09:33:23.504" v="60" actId="1036"/>
        <pc:sldMkLst>
          <pc:docMk/>
          <pc:sldMk cId="3683067118" sldId="318"/>
        </pc:sldMkLst>
      </pc:sldChg>
      <pc:sldChg chg="modSp mod">
        <pc:chgData name="HADHRI Moncef" userId="895ef482-96ff-4dd4-9c74-0dc92131d96c" providerId="ADAL" clId="{4C353EDA-4EC6-4E23-A6A4-159B1E871F2B}" dt="2023-10-20T13:48:15" v="680" actId="20577"/>
        <pc:sldMkLst>
          <pc:docMk/>
          <pc:sldMk cId="435617243" sldId="371"/>
        </pc:sldMkLst>
      </pc:sldChg>
      <pc:sldChg chg="addSp modSp mod">
        <pc:chgData name="HADHRI Moncef" userId="895ef482-96ff-4dd4-9c74-0dc92131d96c" providerId="ADAL" clId="{4C353EDA-4EC6-4E23-A6A4-159B1E871F2B}" dt="2023-10-20T11:25:57.801" v="575" actId="20577"/>
        <pc:sldMkLst>
          <pc:docMk/>
          <pc:sldMk cId="687316141" sldId="375"/>
        </pc:sldMkLst>
      </pc:sldChg>
      <pc:sldChg chg="addSp modSp mod">
        <pc:chgData name="HADHRI Moncef" userId="895ef482-96ff-4dd4-9c74-0dc92131d96c" providerId="ADAL" clId="{4C353EDA-4EC6-4E23-A6A4-159B1E871F2B}" dt="2023-10-20T09:33:55.592" v="106" actId="1076"/>
        <pc:sldMkLst>
          <pc:docMk/>
          <pc:sldMk cId="3203527764" sldId="378"/>
        </pc:sldMkLst>
      </pc:sldChg>
      <pc:sldChg chg="addSp modSp mod">
        <pc:chgData name="HADHRI Moncef" userId="895ef482-96ff-4dd4-9c74-0dc92131d96c" providerId="ADAL" clId="{4C353EDA-4EC6-4E23-A6A4-159B1E871F2B}" dt="2023-10-20T10:33:33.861" v="551" actId="20577"/>
        <pc:sldMkLst>
          <pc:docMk/>
          <pc:sldMk cId="3833533132" sldId="403"/>
        </pc:sldMkLst>
      </pc:sldChg>
      <pc:sldChg chg="addSp modSp mod">
        <pc:chgData name="HADHRI Moncef" userId="895ef482-96ff-4dd4-9c74-0dc92131d96c" providerId="ADAL" clId="{4C353EDA-4EC6-4E23-A6A4-159B1E871F2B}" dt="2023-10-20T12:13:40.489" v="614" actId="20577"/>
        <pc:sldMkLst>
          <pc:docMk/>
          <pc:sldMk cId="3416576635" sldId="406"/>
        </pc:sldMkLst>
      </pc:sldChg>
      <pc:sldChg chg="addSp modSp mod">
        <pc:chgData name="HADHRI Moncef" userId="895ef482-96ff-4dd4-9c74-0dc92131d96c" providerId="ADAL" clId="{4C353EDA-4EC6-4E23-A6A4-159B1E871F2B}" dt="2023-10-20T12:15:08.024" v="616" actId="20577"/>
        <pc:sldMkLst>
          <pc:docMk/>
          <pc:sldMk cId="1697530786" sldId="407"/>
        </pc:sldMkLst>
      </pc:sldChg>
      <pc:sldChg chg="addSp modSp mod">
        <pc:chgData name="HADHRI Moncef" userId="895ef482-96ff-4dd4-9c74-0dc92131d96c" providerId="ADAL" clId="{4C353EDA-4EC6-4E23-A6A4-159B1E871F2B}" dt="2023-10-20T12:16:05.869" v="618" actId="20577"/>
        <pc:sldMkLst>
          <pc:docMk/>
          <pc:sldMk cId="3455755029" sldId="408"/>
        </pc:sldMkLst>
      </pc:sldChg>
      <pc:sldChg chg="addSp modSp mod">
        <pc:chgData name="HADHRI Moncef" userId="895ef482-96ff-4dd4-9c74-0dc92131d96c" providerId="ADAL" clId="{4C353EDA-4EC6-4E23-A6A4-159B1E871F2B}" dt="2023-10-20T12:18:04.398" v="620" actId="20577"/>
        <pc:sldMkLst>
          <pc:docMk/>
          <pc:sldMk cId="1207978756" sldId="410"/>
        </pc:sldMkLst>
      </pc:sldChg>
      <pc:sldChg chg="addSp modSp mod">
        <pc:chgData name="HADHRI Moncef" userId="895ef482-96ff-4dd4-9c74-0dc92131d96c" providerId="ADAL" clId="{4C353EDA-4EC6-4E23-A6A4-159B1E871F2B}" dt="2023-10-20T09:34:41.493" v="254" actId="1036"/>
        <pc:sldMkLst>
          <pc:docMk/>
          <pc:sldMk cId="398650412" sldId="411"/>
        </pc:sldMkLst>
      </pc:sldChg>
      <pc:sldChg chg="addSp modSp mod">
        <pc:chgData name="HADHRI Moncef" userId="895ef482-96ff-4dd4-9c74-0dc92131d96c" providerId="ADAL" clId="{4C353EDA-4EC6-4E23-A6A4-159B1E871F2B}" dt="2023-10-20T09:34:11.642" v="152" actId="1036"/>
        <pc:sldMkLst>
          <pc:docMk/>
          <pc:sldMk cId="1067430973" sldId="415"/>
        </pc:sldMkLst>
      </pc:sldChg>
      <pc:sldChg chg="addSp modSp mod">
        <pc:chgData name="HADHRI Moncef" userId="895ef482-96ff-4dd4-9c74-0dc92131d96c" providerId="ADAL" clId="{4C353EDA-4EC6-4E23-A6A4-159B1E871F2B}" dt="2023-10-20T13:46:36.879" v="674" actId="20577"/>
        <pc:sldMkLst>
          <pc:docMk/>
          <pc:sldMk cId="1348273151" sldId="432"/>
        </pc:sldMkLst>
      </pc:sldChg>
      <pc:sldChg chg="addSp modSp mod">
        <pc:chgData name="HADHRI Moncef" userId="895ef482-96ff-4dd4-9c74-0dc92131d96c" providerId="ADAL" clId="{4C353EDA-4EC6-4E23-A6A4-159B1E871F2B}" dt="2023-10-20T09:35:05.791" v="346" actId="1036"/>
        <pc:sldMkLst>
          <pc:docMk/>
          <pc:sldMk cId="2264595889" sldId="478"/>
        </pc:sldMkLst>
      </pc:sldChg>
      <pc:sldChg chg="addSp modSp mod">
        <pc:chgData name="HADHRI Moncef" userId="895ef482-96ff-4dd4-9c74-0dc92131d96c" providerId="ADAL" clId="{4C353EDA-4EC6-4E23-A6A4-159B1E871F2B}" dt="2023-10-20T13:32:56.338" v="661" actId="20577"/>
        <pc:sldMkLst>
          <pc:docMk/>
          <pc:sldMk cId="1623204966" sldId="481"/>
        </pc:sldMkLst>
      </pc:sldChg>
      <pc:sldChg chg="addSp delSp modSp mod">
        <pc:chgData name="HADHRI Moncef" userId="895ef482-96ff-4dd4-9c74-0dc92131d96c" providerId="ADAL" clId="{4C353EDA-4EC6-4E23-A6A4-159B1E871F2B}" dt="2023-10-20T13:18:47.290" v="631"/>
        <pc:sldMkLst>
          <pc:docMk/>
          <pc:sldMk cId="3050253954" sldId="483"/>
        </pc:sldMkLst>
      </pc:sldChg>
      <pc:sldChg chg="addSp modSp mod">
        <pc:chgData name="HADHRI Moncef" userId="895ef482-96ff-4dd4-9c74-0dc92131d96c" providerId="ADAL" clId="{4C353EDA-4EC6-4E23-A6A4-159B1E871F2B}" dt="2023-10-20T11:19:29.337" v="553" actId="20577"/>
        <pc:sldMkLst>
          <pc:docMk/>
          <pc:sldMk cId="3842426781" sldId="498"/>
        </pc:sldMkLst>
      </pc:sldChg>
      <pc:sldChg chg="addSp modSp mod">
        <pc:chgData name="HADHRI Moncef" userId="895ef482-96ff-4dd4-9c74-0dc92131d96c" providerId="ADAL" clId="{4C353EDA-4EC6-4E23-A6A4-159B1E871F2B}" dt="2023-10-20T13:13:31.962" v="628" actId="20577"/>
        <pc:sldMkLst>
          <pc:docMk/>
          <pc:sldMk cId="3132958973" sldId="502"/>
        </pc:sldMkLst>
      </pc:sldChg>
      <pc:sldChg chg="addSp modSp">
        <pc:chgData name="HADHRI Moncef" userId="895ef482-96ff-4dd4-9c74-0dc92131d96c" providerId="ADAL" clId="{4C353EDA-4EC6-4E23-A6A4-159B1E871F2B}" dt="2023-10-20T09:33:14.708" v="19"/>
        <pc:sldMkLst>
          <pc:docMk/>
          <pc:sldMk cId="4181001190" sldId="506"/>
        </pc:sldMkLst>
      </pc:sldChg>
      <pc:sldChg chg="addSp modSp mod">
        <pc:chgData name="HADHRI Moncef" userId="895ef482-96ff-4dd4-9c74-0dc92131d96c" providerId="ADAL" clId="{4C353EDA-4EC6-4E23-A6A4-159B1E871F2B}" dt="2023-10-20T09:34:17.489" v="200" actId="1036"/>
        <pc:sldMkLst>
          <pc:docMk/>
          <pc:sldMk cId="1376106718" sldId="511"/>
        </pc:sldMkLst>
      </pc:sldChg>
      <pc:sldChg chg="addSp modSp mod">
        <pc:chgData name="HADHRI Moncef" userId="895ef482-96ff-4dd4-9c74-0dc92131d96c" providerId="ADAL" clId="{4C353EDA-4EC6-4E23-A6A4-159B1E871F2B}" dt="2023-10-20T12:22:01.582" v="626" actId="20577"/>
        <pc:sldMkLst>
          <pc:docMk/>
          <pc:sldMk cId="4037864099" sldId="516"/>
        </pc:sldMkLst>
      </pc:sldChg>
      <pc:sldChg chg="addSp modSp mod">
        <pc:chgData name="HADHRI Moncef" userId="895ef482-96ff-4dd4-9c74-0dc92131d96c" providerId="ADAL" clId="{4C353EDA-4EC6-4E23-A6A4-159B1E871F2B}" dt="2023-10-20T09:34:47.805" v="284" actId="1038"/>
        <pc:sldMkLst>
          <pc:docMk/>
          <pc:sldMk cId="1410458262" sldId="517"/>
        </pc:sldMkLst>
      </pc:sldChg>
      <pc:sldChg chg="addSp modSp mod">
        <pc:chgData name="HADHRI Moncef" userId="895ef482-96ff-4dd4-9c74-0dc92131d96c" providerId="ADAL" clId="{4C353EDA-4EC6-4E23-A6A4-159B1E871F2B}" dt="2023-10-20T09:35:31.286" v="487" actId="1035"/>
        <pc:sldMkLst>
          <pc:docMk/>
          <pc:sldMk cId="2337721770" sldId="519"/>
        </pc:sldMkLst>
      </pc:sldChg>
      <pc:sldChg chg="addSp modSp mod">
        <pc:chgData name="HADHRI Moncef" userId="895ef482-96ff-4dd4-9c74-0dc92131d96c" providerId="ADAL" clId="{4C353EDA-4EC6-4E23-A6A4-159B1E871F2B}" dt="2023-10-20T09:35:34.350" v="502" actId="1036"/>
        <pc:sldMkLst>
          <pc:docMk/>
          <pc:sldMk cId="3995611519" sldId="520"/>
        </pc:sldMkLst>
      </pc:sldChg>
      <pc:sldChg chg="addSp modSp mod">
        <pc:chgData name="HADHRI Moncef" userId="895ef482-96ff-4dd4-9c74-0dc92131d96c" providerId="ADAL" clId="{4C353EDA-4EC6-4E23-A6A4-159B1E871F2B}" dt="2023-10-20T09:38:13.815" v="533" actId="1076"/>
        <pc:sldMkLst>
          <pc:docMk/>
          <pc:sldMk cId="1441936261" sldId="523"/>
        </pc:sldMkLst>
      </pc:sldChg>
      <pc:sldChg chg="addSp modSp">
        <pc:chgData name="HADHRI Moncef" userId="895ef482-96ff-4dd4-9c74-0dc92131d96c" providerId="ADAL" clId="{4C353EDA-4EC6-4E23-A6A4-159B1E871F2B}" dt="2023-10-20T09:33:12.352" v="18"/>
        <pc:sldMkLst>
          <pc:docMk/>
          <pc:sldMk cId="3652464793" sldId="524"/>
        </pc:sldMkLst>
      </pc:sldChg>
      <pc:sldChg chg="addSp modSp mod">
        <pc:chgData name="HADHRI Moncef" userId="895ef482-96ff-4dd4-9c74-0dc92131d96c" providerId="ADAL" clId="{4C353EDA-4EC6-4E23-A6A4-159B1E871F2B}" dt="2023-10-20T09:33:18.986" v="37" actId="1036"/>
        <pc:sldMkLst>
          <pc:docMk/>
          <pc:sldMk cId="1797321108" sldId="525"/>
        </pc:sldMkLst>
      </pc:sldChg>
      <pc:sldChg chg="addSp modSp mod">
        <pc:chgData name="HADHRI Moncef" userId="895ef482-96ff-4dd4-9c74-0dc92131d96c" providerId="ADAL" clId="{4C353EDA-4EC6-4E23-A6A4-159B1E871F2B}" dt="2023-10-20T09:33:27.290" v="86" actId="1036"/>
        <pc:sldMkLst>
          <pc:docMk/>
          <pc:sldMk cId="3840129972" sldId="526"/>
        </pc:sldMkLst>
      </pc:sldChg>
      <pc:sldChg chg="addSp modSp mod">
        <pc:chgData name="HADHRI Moncef" userId="895ef482-96ff-4dd4-9c74-0dc92131d96c" providerId="ADAL" clId="{4C353EDA-4EC6-4E23-A6A4-159B1E871F2B}" dt="2023-10-20T10:12:25.882" v="549" actId="20577"/>
        <pc:sldMkLst>
          <pc:docMk/>
          <pc:sldMk cId="611791896" sldId="527"/>
        </pc:sldMkLst>
      </pc:sldChg>
      <pc:sldChg chg="addSp modSp">
        <pc:chgData name="HADHRI Moncef" userId="895ef482-96ff-4dd4-9c74-0dc92131d96c" providerId="ADAL" clId="{4C353EDA-4EC6-4E23-A6A4-159B1E871F2B}" dt="2023-10-20T09:33:30.484" v="88"/>
        <pc:sldMkLst>
          <pc:docMk/>
          <pc:sldMk cId="4050344241" sldId="528"/>
        </pc:sldMkLst>
      </pc:sldChg>
      <pc:sldChg chg="addSp modSp mod">
        <pc:chgData name="HADHRI Moncef" userId="895ef482-96ff-4dd4-9c74-0dc92131d96c" providerId="ADAL" clId="{4C353EDA-4EC6-4E23-A6A4-159B1E871F2B}" dt="2023-10-20T09:33:46.596" v="102" actId="1076"/>
        <pc:sldMkLst>
          <pc:docMk/>
          <pc:sldMk cId="3970380033" sldId="529"/>
        </pc:sldMkLst>
      </pc:sldChg>
      <pc:sldChg chg="addSp modSp mod">
        <pc:chgData name="HADHRI Moncef" userId="895ef482-96ff-4dd4-9c74-0dc92131d96c" providerId="ADAL" clId="{4C353EDA-4EC6-4E23-A6A4-159B1E871F2B}" dt="2023-10-20T09:33:51.871" v="104" actId="1076"/>
        <pc:sldMkLst>
          <pc:docMk/>
          <pc:sldMk cId="2267228707" sldId="530"/>
        </pc:sldMkLst>
      </pc:sldChg>
      <pc:sldChg chg="addSp modSp mod">
        <pc:chgData name="HADHRI Moncef" userId="895ef482-96ff-4dd4-9c74-0dc92131d96c" providerId="ADAL" clId="{4C353EDA-4EC6-4E23-A6A4-159B1E871F2B}" dt="2023-10-20T09:34:06.398" v="131" actId="1038"/>
        <pc:sldMkLst>
          <pc:docMk/>
          <pc:sldMk cId="399590516" sldId="531"/>
        </pc:sldMkLst>
      </pc:sldChg>
      <pc:sldChg chg="addSp modSp">
        <pc:chgData name="HADHRI Moncef" userId="895ef482-96ff-4dd4-9c74-0dc92131d96c" providerId="ADAL" clId="{4C353EDA-4EC6-4E23-A6A4-159B1E871F2B}" dt="2023-10-20T09:34:07.811" v="132"/>
        <pc:sldMkLst>
          <pc:docMk/>
          <pc:sldMk cId="1113706935" sldId="532"/>
        </pc:sldMkLst>
      </pc:sldChg>
      <pc:sldChg chg="addSp modSp mod">
        <pc:chgData name="HADHRI Moncef" userId="895ef482-96ff-4dd4-9c74-0dc92131d96c" providerId="ADAL" clId="{4C353EDA-4EC6-4E23-A6A4-159B1E871F2B}" dt="2023-10-20T09:34:28.831" v="227" actId="1036"/>
        <pc:sldMkLst>
          <pc:docMk/>
          <pc:sldMk cId="160286315" sldId="533"/>
        </pc:sldMkLst>
      </pc:sldChg>
      <pc:sldChg chg="addSp modSp mod">
        <pc:chgData name="HADHRI Moncef" userId="895ef482-96ff-4dd4-9c74-0dc92131d96c" providerId="ADAL" clId="{4C353EDA-4EC6-4E23-A6A4-159B1E871F2B}" dt="2023-10-20T12:11:46.102" v="612" actId="20577"/>
        <pc:sldMkLst>
          <pc:docMk/>
          <pc:sldMk cId="3408810239" sldId="534"/>
        </pc:sldMkLst>
      </pc:sldChg>
      <pc:sldChg chg="addSp modSp mod">
        <pc:chgData name="HADHRI Moncef" userId="895ef482-96ff-4dd4-9c74-0dc92131d96c" providerId="ADAL" clId="{4C353EDA-4EC6-4E23-A6A4-159B1E871F2B}" dt="2023-10-20T09:34:55.406" v="314" actId="1035"/>
        <pc:sldMkLst>
          <pc:docMk/>
          <pc:sldMk cId="1580970320" sldId="536"/>
        </pc:sldMkLst>
      </pc:sldChg>
      <pc:sldChg chg="addSp modSp mod">
        <pc:chgData name="HADHRI Moncef" userId="895ef482-96ff-4dd4-9c74-0dc92131d96c" providerId="ADAL" clId="{4C353EDA-4EC6-4E23-A6A4-159B1E871F2B}" dt="2023-10-20T09:35:00.904" v="328" actId="1036"/>
        <pc:sldMkLst>
          <pc:docMk/>
          <pc:sldMk cId="3992291547" sldId="537"/>
        </pc:sldMkLst>
      </pc:sldChg>
      <pc:sldChg chg="addSp modSp">
        <pc:chgData name="HADHRI Moncef" userId="895ef482-96ff-4dd4-9c74-0dc92131d96c" providerId="ADAL" clId="{4C353EDA-4EC6-4E23-A6A4-159B1E871F2B}" dt="2023-10-20T09:35:02.301" v="329"/>
        <pc:sldMkLst>
          <pc:docMk/>
          <pc:sldMk cId="4234730277" sldId="538"/>
        </pc:sldMkLst>
      </pc:sldChg>
      <pc:sldChg chg="addSp modSp mod">
        <pc:chgData name="HADHRI Moncef" userId="895ef482-96ff-4dd4-9c74-0dc92131d96c" providerId="ADAL" clId="{4C353EDA-4EC6-4E23-A6A4-159B1E871F2B}" dt="2023-10-20T13:25:23.866" v="633" actId="20577"/>
        <pc:sldMkLst>
          <pc:docMk/>
          <pc:sldMk cId="4125945156" sldId="539"/>
        </pc:sldMkLst>
      </pc:sldChg>
      <pc:sldChg chg="addSp modSp mod">
        <pc:chgData name="HADHRI Moncef" userId="895ef482-96ff-4dd4-9c74-0dc92131d96c" providerId="ADAL" clId="{4C353EDA-4EC6-4E23-A6A4-159B1E871F2B}" dt="2023-10-20T13:29:48.808" v="654" actId="1076"/>
        <pc:sldMkLst>
          <pc:docMk/>
          <pc:sldMk cId="1691932536" sldId="540"/>
        </pc:sldMkLst>
      </pc:sldChg>
      <pc:sldChg chg="modSp mod">
        <pc:chgData name="HADHRI Moncef" userId="895ef482-96ff-4dd4-9c74-0dc92131d96c" providerId="ADAL" clId="{4C353EDA-4EC6-4E23-A6A4-159B1E871F2B}" dt="2023-10-20T11:31:31.841" v="610" actId="20577"/>
        <pc:sldMkLst>
          <pc:docMk/>
          <pc:sldMk cId="2066674344" sldId="2134805399"/>
        </pc:sldMkLst>
      </pc:sldChg>
      <pc:sldChg chg="addSp modSp mod">
        <pc:chgData name="HADHRI Moncef" userId="895ef482-96ff-4dd4-9c74-0dc92131d96c" providerId="ADAL" clId="{4C353EDA-4EC6-4E23-A6A4-159B1E871F2B}" dt="2023-10-20T13:36:48.642" v="664" actId="20577"/>
        <pc:sldMkLst>
          <pc:docMk/>
          <pc:sldMk cId="2170594155" sldId="2134805400"/>
        </pc:sldMkLst>
      </pc:sldChg>
      <pc:sldChg chg="addSp modSp mod">
        <pc:chgData name="HADHRI Moncef" userId="895ef482-96ff-4dd4-9c74-0dc92131d96c" providerId="ADAL" clId="{4C353EDA-4EC6-4E23-A6A4-159B1E871F2B}" dt="2023-10-20T13:40:22.065" v="670" actId="20577"/>
        <pc:sldMkLst>
          <pc:docMk/>
          <pc:sldMk cId="1990773259" sldId="2134805401"/>
        </pc:sldMkLst>
      </pc:sldChg>
    </pc:docChg>
  </pc:docChgLst>
  <pc:docChgLst>
    <pc:chgData name="HADHRI Moncef" userId="895ef482-96ff-4dd4-9c74-0dc92131d96c" providerId="ADAL" clId="{A8C564F2-344E-466C-8CAB-C56DBFCE9D39}"/>
    <pc:docChg chg="custSel delSld modSld">
      <pc:chgData name="HADHRI Moncef" userId="895ef482-96ff-4dd4-9c74-0dc92131d96c" providerId="ADAL" clId="{A8C564F2-344E-466C-8CAB-C56DBFCE9D39}" dt="2023-11-27T14:54:29.837" v="547" actId="20577"/>
      <pc:docMkLst>
        <pc:docMk/>
      </pc:docMkLst>
      <pc:sldChg chg="addSp delSp modSp mod">
        <pc:chgData name="HADHRI Moncef" userId="895ef482-96ff-4dd4-9c74-0dc92131d96c" providerId="ADAL" clId="{A8C564F2-344E-466C-8CAB-C56DBFCE9D39}" dt="2023-11-27T14:13:15.224" v="383" actId="20577"/>
        <pc:sldMkLst>
          <pc:docMk/>
          <pc:sldMk cId="3683067118" sldId="318"/>
        </pc:sldMkLst>
      </pc:sldChg>
      <pc:sldChg chg="modSp mod">
        <pc:chgData name="HADHRI Moncef" userId="895ef482-96ff-4dd4-9c74-0dc92131d96c" providerId="ADAL" clId="{A8C564F2-344E-466C-8CAB-C56DBFCE9D39}" dt="2023-11-27T14:08:21.506" v="328" actId="20577"/>
        <pc:sldMkLst>
          <pc:docMk/>
          <pc:sldMk cId="435617243" sldId="371"/>
        </pc:sldMkLst>
      </pc:sldChg>
      <pc:sldChg chg="modSp mod">
        <pc:chgData name="HADHRI Moncef" userId="895ef482-96ff-4dd4-9c74-0dc92131d96c" providerId="ADAL" clId="{A8C564F2-344E-466C-8CAB-C56DBFCE9D39}" dt="2023-11-27T14:54:29.837" v="547" actId="20577"/>
        <pc:sldMkLst>
          <pc:docMk/>
          <pc:sldMk cId="1920272730" sldId="372"/>
        </pc:sldMkLst>
      </pc:sldChg>
      <pc:sldChg chg="addSp delSp modSp mod">
        <pc:chgData name="HADHRI Moncef" userId="895ef482-96ff-4dd4-9c74-0dc92131d96c" providerId="ADAL" clId="{A8C564F2-344E-466C-8CAB-C56DBFCE9D39}" dt="2023-11-27T14:17:28.207" v="445" actId="1076"/>
        <pc:sldMkLst>
          <pc:docMk/>
          <pc:sldMk cId="687316141" sldId="375"/>
        </pc:sldMkLst>
      </pc:sldChg>
      <pc:sldChg chg="addSp delSp modSp mod">
        <pc:chgData name="HADHRI Moncef" userId="895ef482-96ff-4dd4-9c74-0dc92131d96c" providerId="ADAL" clId="{A8C564F2-344E-466C-8CAB-C56DBFCE9D39}" dt="2023-11-27T14:21:23.191" v="471" actId="20577"/>
        <pc:sldMkLst>
          <pc:docMk/>
          <pc:sldMk cId="3203527764" sldId="378"/>
        </pc:sldMkLst>
      </pc:sldChg>
      <pc:sldChg chg="addSp delSp modSp mod">
        <pc:chgData name="HADHRI Moncef" userId="895ef482-96ff-4dd4-9c74-0dc92131d96c" providerId="ADAL" clId="{A8C564F2-344E-466C-8CAB-C56DBFCE9D39}" dt="2023-11-27T14:49:05.119" v="533" actId="20577"/>
        <pc:sldMkLst>
          <pc:docMk/>
          <pc:sldMk cId="3833533132" sldId="403"/>
        </pc:sldMkLst>
      </pc:sldChg>
      <pc:sldChg chg="addSp delSp modSp mod">
        <pc:chgData name="HADHRI Moncef" userId="895ef482-96ff-4dd4-9c74-0dc92131d96c" providerId="ADAL" clId="{A8C564F2-344E-466C-8CAB-C56DBFCE9D39}" dt="2023-11-27T13:53:12.526" v="208" actId="1076"/>
        <pc:sldMkLst>
          <pc:docMk/>
          <pc:sldMk cId="3416576635" sldId="406"/>
        </pc:sldMkLst>
      </pc:sldChg>
      <pc:sldChg chg="addSp delSp modSp mod">
        <pc:chgData name="HADHRI Moncef" userId="895ef482-96ff-4dd4-9c74-0dc92131d96c" providerId="ADAL" clId="{A8C564F2-344E-466C-8CAB-C56DBFCE9D39}" dt="2023-11-27T13:58:10.876" v="245" actId="1076"/>
        <pc:sldMkLst>
          <pc:docMk/>
          <pc:sldMk cId="1697530786" sldId="407"/>
        </pc:sldMkLst>
      </pc:sldChg>
      <pc:sldChg chg="addSp delSp modSp mod">
        <pc:chgData name="HADHRI Moncef" userId="895ef482-96ff-4dd4-9c74-0dc92131d96c" providerId="ADAL" clId="{A8C564F2-344E-466C-8CAB-C56DBFCE9D39}" dt="2023-11-27T13:54:42.247" v="219" actId="1076"/>
        <pc:sldMkLst>
          <pc:docMk/>
          <pc:sldMk cId="3455755029" sldId="408"/>
        </pc:sldMkLst>
      </pc:sldChg>
      <pc:sldChg chg="addSp delSp modSp mod">
        <pc:chgData name="HADHRI Moncef" userId="895ef482-96ff-4dd4-9c74-0dc92131d96c" providerId="ADAL" clId="{A8C564F2-344E-466C-8CAB-C56DBFCE9D39}" dt="2023-11-27T13:55:43.737" v="225" actId="1076"/>
        <pc:sldMkLst>
          <pc:docMk/>
          <pc:sldMk cId="1207978756" sldId="410"/>
        </pc:sldMkLst>
      </pc:sldChg>
      <pc:sldChg chg="addSp delSp modSp mod">
        <pc:chgData name="HADHRI Moncef" userId="895ef482-96ff-4dd4-9c74-0dc92131d96c" providerId="ADAL" clId="{A8C564F2-344E-466C-8CAB-C56DBFCE9D39}" dt="2023-11-27T13:56:34.231" v="230" actId="1076"/>
        <pc:sldMkLst>
          <pc:docMk/>
          <pc:sldMk cId="398650412" sldId="411"/>
        </pc:sldMkLst>
      </pc:sldChg>
      <pc:sldChg chg="addSp delSp modSp mod">
        <pc:chgData name="HADHRI Moncef" userId="895ef482-96ff-4dd4-9c74-0dc92131d96c" providerId="ADAL" clId="{A8C564F2-344E-466C-8CAB-C56DBFCE9D39}" dt="2023-11-27T13:48:06.252" v="164" actId="14100"/>
        <pc:sldMkLst>
          <pc:docMk/>
          <pc:sldMk cId="1067430973" sldId="415"/>
        </pc:sldMkLst>
      </pc:sldChg>
      <pc:sldChg chg="del">
        <pc:chgData name="HADHRI Moncef" userId="895ef482-96ff-4dd4-9c74-0dc92131d96c" providerId="ADAL" clId="{A8C564F2-344E-466C-8CAB-C56DBFCE9D39}" dt="2023-11-27T14:42:57.071" v="524" actId="47"/>
        <pc:sldMkLst>
          <pc:docMk/>
          <pc:sldMk cId="3486425364" sldId="431"/>
        </pc:sldMkLst>
      </pc:sldChg>
      <pc:sldChg chg="addSp delSp modSp mod">
        <pc:chgData name="HADHRI Moncef" userId="895ef482-96ff-4dd4-9c74-0dc92131d96c" providerId="ADAL" clId="{A8C564F2-344E-466C-8CAB-C56DBFCE9D39}" dt="2023-11-27T14:42:45.677" v="523" actId="20577"/>
        <pc:sldMkLst>
          <pc:docMk/>
          <pc:sldMk cId="1348273151" sldId="432"/>
        </pc:sldMkLst>
      </pc:sldChg>
      <pc:sldChg chg="delSp mod">
        <pc:chgData name="HADHRI Moncef" userId="895ef482-96ff-4dd4-9c74-0dc92131d96c" providerId="ADAL" clId="{A8C564F2-344E-466C-8CAB-C56DBFCE9D39}" dt="2023-11-27T13:48:53.992" v="176" actId="478"/>
        <pc:sldMkLst>
          <pc:docMk/>
          <pc:sldMk cId="4003818425" sldId="452"/>
        </pc:sldMkLst>
      </pc:sldChg>
      <pc:sldChg chg="delSp mod">
        <pc:chgData name="HADHRI Moncef" userId="895ef482-96ff-4dd4-9c74-0dc92131d96c" providerId="ADAL" clId="{A8C564F2-344E-466C-8CAB-C56DBFCE9D39}" dt="2023-11-27T13:48:58.975" v="178" actId="478"/>
        <pc:sldMkLst>
          <pc:docMk/>
          <pc:sldMk cId="2606274184" sldId="465"/>
        </pc:sldMkLst>
      </pc:sldChg>
      <pc:sldChg chg="delSp mod">
        <pc:chgData name="HADHRI Moncef" userId="895ef482-96ff-4dd4-9c74-0dc92131d96c" providerId="ADAL" clId="{A8C564F2-344E-466C-8CAB-C56DBFCE9D39}" dt="2023-11-27T13:48:43.184" v="171" actId="478"/>
        <pc:sldMkLst>
          <pc:docMk/>
          <pc:sldMk cId="4223220080" sldId="473"/>
        </pc:sldMkLst>
      </pc:sldChg>
      <pc:sldChg chg="delSp mod">
        <pc:chgData name="HADHRI Moncef" userId="895ef482-96ff-4dd4-9c74-0dc92131d96c" providerId="ADAL" clId="{A8C564F2-344E-466C-8CAB-C56DBFCE9D39}" dt="2023-11-27T13:48:46.367" v="173" actId="478"/>
        <pc:sldMkLst>
          <pc:docMk/>
          <pc:sldMk cId="696988029" sldId="474"/>
        </pc:sldMkLst>
      </pc:sldChg>
      <pc:sldChg chg="delSp mod">
        <pc:chgData name="HADHRI Moncef" userId="895ef482-96ff-4dd4-9c74-0dc92131d96c" providerId="ADAL" clId="{A8C564F2-344E-466C-8CAB-C56DBFCE9D39}" dt="2023-11-27T13:48:47.702" v="174" actId="478"/>
        <pc:sldMkLst>
          <pc:docMk/>
          <pc:sldMk cId="1483498060" sldId="475"/>
        </pc:sldMkLst>
      </pc:sldChg>
      <pc:sldChg chg="addSp delSp modSp mod">
        <pc:chgData name="HADHRI Moncef" userId="895ef482-96ff-4dd4-9c74-0dc92131d96c" providerId="ADAL" clId="{A8C564F2-344E-466C-8CAB-C56DBFCE9D39}" dt="2023-11-27T14:02:43.650" v="277" actId="1076"/>
        <pc:sldMkLst>
          <pc:docMk/>
          <pc:sldMk cId="2264595889" sldId="478"/>
        </pc:sldMkLst>
      </pc:sldChg>
      <pc:sldChg chg="addSp delSp modSp mod">
        <pc:chgData name="HADHRI Moncef" userId="895ef482-96ff-4dd4-9c74-0dc92131d96c" providerId="ADAL" clId="{A8C564F2-344E-466C-8CAB-C56DBFCE9D39}" dt="2023-11-27T14:04:14.898" v="294" actId="1076"/>
        <pc:sldMkLst>
          <pc:docMk/>
          <pc:sldMk cId="1623204966" sldId="481"/>
        </pc:sldMkLst>
      </pc:sldChg>
      <pc:sldChg chg="delSp mod">
        <pc:chgData name="HADHRI Moncef" userId="895ef482-96ff-4dd4-9c74-0dc92131d96c" providerId="ADAL" clId="{A8C564F2-344E-466C-8CAB-C56DBFCE9D39}" dt="2023-11-27T14:01:03.729" v="258" actId="478"/>
        <pc:sldMkLst>
          <pc:docMk/>
          <pc:sldMk cId="3050253954" sldId="483"/>
        </pc:sldMkLst>
      </pc:sldChg>
      <pc:sldChg chg="addSp delSp modSp mod">
        <pc:chgData name="HADHRI Moncef" userId="895ef482-96ff-4dd4-9c74-0dc92131d96c" providerId="ADAL" clId="{A8C564F2-344E-466C-8CAB-C56DBFCE9D39}" dt="2023-11-27T14:16:39.776" v="443" actId="20577"/>
        <pc:sldMkLst>
          <pc:docMk/>
          <pc:sldMk cId="3842426781" sldId="498"/>
        </pc:sldMkLst>
      </pc:sldChg>
      <pc:sldChg chg="addSp delSp modSp mod">
        <pc:chgData name="HADHRI Moncef" userId="895ef482-96ff-4dd4-9c74-0dc92131d96c" providerId="ADAL" clId="{A8C564F2-344E-466C-8CAB-C56DBFCE9D39}" dt="2023-11-27T13:59:21.564" v="250" actId="1076"/>
        <pc:sldMkLst>
          <pc:docMk/>
          <pc:sldMk cId="3132958973" sldId="502"/>
        </pc:sldMkLst>
      </pc:sldChg>
      <pc:sldChg chg="addSp delSp modSp mod">
        <pc:chgData name="HADHRI Moncef" userId="895ef482-96ff-4dd4-9c74-0dc92131d96c" providerId="ADAL" clId="{A8C564F2-344E-466C-8CAB-C56DBFCE9D39}" dt="2023-11-27T13:37:16.461" v="41" actId="1076"/>
        <pc:sldMkLst>
          <pc:docMk/>
          <pc:sldMk cId="4181001190" sldId="506"/>
        </pc:sldMkLst>
      </pc:sldChg>
      <pc:sldChg chg="del">
        <pc:chgData name="HADHRI Moncef" userId="895ef482-96ff-4dd4-9c74-0dc92131d96c" providerId="ADAL" clId="{A8C564F2-344E-466C-8CAB-C56DBFCE9D39}" dt="2023-11-27T14:42:57.071" v="524" actId="47"/>
        <pc:sldMkLst>
          <pc:docMk/>
          <pc:sldMk cId="3951615262" sldId="508"/>
        </pc:sldMkLst>
      </pc:sldChg>
      <pc:sldChg chg="addSp delSp modSp mod">
        <pc:chgData name="HADHRI Moncef" userId="895ef482-96ff-4dd4-9c74-0dc92131d96c" providerId="ADAL" clId="{A8C564F2-344E-466C-8CAB-C56DBFCE9D39}" dt="2023-11-27T14:47:56.262" v="526" actId="1076"/>
        <pc:sldMkLst>
          <pc:docMk/>
          <pc:sldMk cId="1376106718" sldId="511"/>
        </pc:sldMkLst>
      </pc:sldChg>
      <pc:sldChg chg="del">
        <pc:chgData name="HADHRI Moncef" userId="895ef482-96ff-4dd4-9c74-0dc92131d96c" providerId="ADAL" clId="{A8C564F2-344E-466C-8CAB-C56DBFCE9D39}" dt="2023-11-27T14:42:57.071" v="524" actId="47"/>
        <pc:sldMkLst>
          <pc:docMk/>
          <pc:sldMk cId="1361385511" sldId="514"/>
        </pc:sldMkLst>
      </pc:sldChg>
      <pc:sldChg chg="addSp delSp modSp mod">
        <pc:chgData name="HADHRI Moncef" userId="895ef482-96ff-4dd4-9c74-0dc92131d96c" providerId="ADAL" clId="{A8C564F2-344E-466C-8CAB-C56DBFCE9D39}" dt="2023-11-27T13:57:05.605" v="236" actId="14100"/>
        <pc:sldMkLst>
          <pc:docMk/>
          <pc:sldMk cId="4037864099" sldId="516"/>
        </pc:sldMkLst>
      </pc:sldChg>
      <pc:sldChg chg="addSp delSp modSp mod">
        <pc:chgData name="HADHRI Moncef" userId="895ef482-96ff-4dd4-9c74-0dc92131d96c" providerId="ADAL" clId="{A8C564F2-344E-466C-8CAB-C56DBFCE9D39}" dt="2023-11-27T13:57:37.029" v="242" actId="1076"/>
        <pc:sldMkLst>
          <pc:docMk/>
          <pc:sldMk cId="1410458262" sldId="517"/>
        </pc:sldMkLst>
      </pc:sldChg>
      <pc:sldChg chg="addSp delSp modSp mod">
        <pc:chgData name="HADHRI Moncef" userId="895ef482-96ff-4dd4-9c74-0dc92131d96c" providerId="ADAL" clId="{A8C564F2-344E-466C-8CAB-C56DBFCE9D39}" dt="2023-11-27T14:05:56.209" v="314" actId="1076"/>
        <pc:sldMkLst>
          <pc:docMk/>
          <pc:sldMk cId="2337721770" sldId="519"/>
        </pc:sldMkLst>
      </pc:sldChg>
      <pc:sldChg chg="addSp delSp modSp mod">
        <pc:chgData name="HADHRI Moncef" userId="895ef482-96ff-4dd4-9c74-0dc92131d96c" providerId="ADAL" clId="{A8C564F2-344E-466C-8CAB-C56DBFCE9D39}" dt="2023-11-27T14:53:54.085" v="543" actId="1076"/>
        <pc:sldMkLst>
          <pc:docMk/>
          <pc:sldMk cId="3995611519" sldId="520"/>
        </pc:sldMkLst>
      </pc:sldChg>
      <pc:sldChg chg="addSp delSp modSp mod">
        <pc:chgData name="HADHRI Moncef" userId="895ef482-96ff-4dd4-9c74-0dc92131d96c" providerId="ADAL" clId="{A8C564F2-344E-466C-8CAB-C56DBFCE9D39}" dt="2023-11-27T14:08:31.130" v="330" actId="20577"/>
        <pc:sldMkLst>
          <pc:docMk/>
          <pc:sldMk cId="1441936261" sldId="523"/>
        </pc:sldMkLst>
      </pc:sldChg>
      <pc:sldChg chg="addSp delSp modSp mod">
        <pc:chgData name="HADHRI Moncef" userId="895ef482-96ff-4dd4-9c74-0dc92131d96c" providerId="ADAL" clId="{A8C564F2-344E-466C-8CAB-C56DBFCE9D39}" dt="2023-11-27T14:09:33.577" v="331" actId="1076"/>
        <pc:sldMkLst>
          <pc:docMk/>
          <pc:sldMk cId="3652464793" sldId="524"/>
        </pc:sldMkLst>
      </pc:sldChg>
      <pc:sldChg chg="addSp delSp modSp mod">
        <pc:chgData name="HADHRI Moncef" userId="895ef482-96ff-4dd4-9c74-0dc92131d96c" providerId="ADAL" clId="{A8C564F2-344E-466C-8CAB-C56DBFCE9D39}" dt="2023-11-27T14:43:59.649" v="525" actId="1076"/>
        <pc:sldMkLst>
          <pc:docMk/>
          <pc:sldMk cId="1797321108" sldId="525"/>
        </pc:sldMkLst>
      </pc:sldChg>
      <pc:sldChg chg="addSp delSp modSp mod">
        <pc:chgData name="HADHRI Moncef" userId="895ef482-96ff-4dd4-9c74-0dc92131d96c" providerId="ADAL" clId="{A8C564F2-344E-466C-8CAB-C56DBFCE9D39}" dt="2023-11-27T13:38:42.006" v="56" actId="1076"/>
        <pc:sldMkLst>
          <pc:docMk/>
          <pc:sldMk cId="3840129972" sldId="526"/>
        </pc:sldMkLst>
      </pc:sldChg>
      <pc:sldChg chg="addSp delSp modSp mod">
        <pc:chgData name="HADHRI Moncef" userId="895ef482-96ff-4dd4-9c74-0dc92131d96c" providerId="ADAL" clId="{A8C564F2-344E-466C-8CAB-C56DBFCE9D39}" dt="2023-11-27T14:14:47.211" v="406" actId="20577"/>
        <pc:sldMkLst>
          <pc:docMk/>
          <pc:sldMk cId="611791896" sldId="527"/>
        </pc:sldMkLst>
      </pc:sldChg>
      <pc:sldChg chg="addSp delSp modSp mod">
        <pc:chgData name="HADHRI Moncef" userId="895ef482-96ff-4dd4-9c74-0dc92131d96c" providerId="ADAL" clId="{A8C564F2-344E-466C-8CAB-C56DBFCE9D39}" dt="2023-11-27T14:15:30.192" v="425" actId="20577"/>
        <pc:sldMkLst>
          <pc:docMk/>
          <pc:sldMk cId="4050344241" sldId="528"/>
        </pc:sldMkLst>
      </pc:sldChg>
      <pc:sldChg chg="addSp delSp modSp mod">
        <pc:chgData name="HADHRI Moncef" userId="895ef482-96ff-4dd4-9c74-0dc92131d96c" providerId="ADAL" clId="{A8C564F2-344E-466C-8CAB-C56DBFCE9D39}" dt="2023-11-27T14:19:15.879" v="461" actId="1076"/>
        <pc:sldMkLst>
          <pc:docMk/>
          <pc:sldMk cId="3970380033" sldId="529"/>
        </pc:sldMkLst>
      </pc:sldChg>
      <pc:sldChg chg="addSp delSp modSp mod">
        <pc:chgData name="HADHRI Moncef" userId="895ef482-96ff-4dd4-9c74-0dc92131d96c" providerId="ADAL" clId="{A8C564F2-344E-466C-8CAB-C56DBFCE9D39}" dt="2023-11-27T13:43:08.365" v="118" actId="1036"/>
        <pc:sldMkLst>
          <pc:docMk/>
          <pc:sldMk cId="2267228707" sldId="530"/>
        </pc:sldMkLst>
      </pc:sldChg>
      <pc:sldChg chg="addSp delSp modSp mod">
        <pc:chgData name="HADHRI Moncef" userId="895ef482-96ff-4dd4-9c74-0dc92131d96c" providerId="ADAL" clId="{A8C564F2-344E-466C-8CAB-C56DBFCE9D39}" dt="2023-11-27T14:23:09.975" v="476" actId="1076"/>
        <pc:sldMkLst>
          <pc:docMk/>
          <pc:sldMk cId="399590516" sldId="531"/>
        </pc:sldMkLst>
      </pc:sldChg>
      <pc:sldChg chg="addSp delSp modSp mod">
        <pc:chgData name="HADHRI Moncef" userId="895ef482-96ff-4dd4-9c74-0dc92131d96c" providerId="ADAL" clId="{A8C564F2-344E-466C-8CAB-C56DBFCE9D39}" dt="2023-11-27T13:47:04.999" v="152" actId="1076"/>
        <pc:sldMkLst>
          <pc:docMk/>
          <pc:sldMk cId="1113706935" sldId="532"/>
        </pc:sldMkLst>
      </pc:sldChg>
      <pc:sldChg chg="addSp delSp modSp mod">
        <pc:chgData name="HADHRI Moncef" userId="895ef482-96ff-4dd4-9c74-0dc92131d96c" providerId="ADAL" clId="{A8C564F2-344E-466C-8CAB-C56DBFCE9D39}" dt="2023-11-27T14:30:23.316" v="502" actId="20577"/>
        <pc:sldMkLst>
          <pc:docMk/>
          <pc:sldMk cId="160286315" sldId="533"/>
        </pc:sldMkLst>
      </pc:sldChg>
      <pc:sldChg chg="addSp delSp modSp mod">
        <pc:chgData name="HADHRI Moncef" userId="895ef482-96ff-4dd4-9c74-0dc92131d96c" providerId="ADAL" clId="{A8C564F2-344E-466C-8CAB-C56DBFCE9D39}" dt="2023-11-27T13:52:11.701" v="204" actId="1076"/>
        <pc:sldMkLst>
          <pc:docMk/>
          <pc:sldMk cId="3408810239" sldId="534"/>
        </pc:sldMkLst>
      </pc:sldChg>
      <pc:sldChg chg="addSp delSp modSp mod">
        <pc:chgData name="HADHRI Moncef" userId="895ef482-96ff-4dd4-9c74-0dc92131d96c" providerId="ADAL" clId="{A8C564F2-344E-466C-8CAB-C56DBFCE9D39}" dt="2023-11-27T14:00:28.213" v="257" actId="1076"/>
        <pc:sldMkLst>
          <pc:docMk/>
          <pc:sldMk cId="1580970320" sldId="536"/>
        </pc:sldMkLst>
      </pc:sldChg>
      <pc:sldChg chg="addSp delSp modSp mod">
        <pc:chgData name="HADHRI Moncef" userId="895ef482-96ff-4dd4-9c74-0dc92131d96c" providerId="ADAL" clId="{A8C564F2-344E-466C-8CAB-C56DBFCE9D39}" dt="2023-11-27T14:01:42.811" v="264" actId="14100"/>
        <pc:sldMkLst>
          <pc:docMk/>
          <pc:sldMk cId="3992291547" sldId="537"/>
        </pc:sldMkLst>
      </pc:sldChg>
      <pc:sldChg chg="addSp delSp modSp mod">
        <pc:chgData name="HADHRI Moncef" userId="895ef482-96ff-4dd4-9c74-0dc92131d96c" providerId="ADAL" clId="{A8C564F2-344E-466C-8CAB-C56DBFCE9D39}" dt="2023-11-27T14:02:13.307" v="271" actId="14100"/>
        <pc:sldMkLst>
          <pc:docMk/>
          <pc:sldMk cId="4234730277" sldId="538"/>
        </pc:sldMkLst>
      </pc:sldChg>
      <pc:sldChg chg="addSp delSp modSp mod">
        <pc:chgData name="HADHRI Moncef" userId="895ef482-96ff-4dd4-9c74-0dc92131d96c" providerId="ADAL" clId="{A8C564F2-344E-466C-8CAB-C56DBFCE9D39}" dt="2023-11-27T14:03:10.706" v="282" actId="1076"/>
        <pc:sldMkLst>
          <pc:docMk/>
          <pc:sldMk cId="4125945156" sldId="539"/>
        </pc:sldMkLst>
      </pc:sldChg>
      <pc:sldChg chg="addSp delSp modSp mod">
        <pc:chgData name="HADHRI Moncef" userId="895ef482-96ff-4dd4-9c74-0dc92131d96c" providerId="ADAL" clId="{A8C564F2-344E-466C-8CAB-C56DBFCE9D39}" dt="2023-11-27T14:53:09.009" v="541" actId="1076"/>
        <pc:sldMkLst>
          <pc:docMk/>
          <pc:sldMk cId="1691932536" sldId="540"/>
        </pc:sldMkLst>
      </pc:sldChg>
      <pc:sldChg chg="del">
        <pc:chgData name="HADHRI Moncef" userId="895ef482-96ff-4dd4-9c74-0dc92131d96c" providerId="ADAL" clId="{A8C564F2-344E-466C-8CAB-C56DBFCE9D39}" dt="2023-11-27T14:42:57.071" v="524" actId="47"/>
        <pc:sldMkLst>
          <pc:docMk/>
          <pc:sldMk cId="3458925768" sldId="543"/>
        </pc:sldMkLst>
      </pc:sldChg>
      <pc:sldChg chg="delSp mod">
        <pc:chgData name="HADHRI Moncef" userId="895ef482-96ff-4dd4-9c74-0dc92131d96c" providerId="ADAL" clId="{A8C564F2-344E-466C-8CAB-C56DBFCE9D39}" dt="2023-11-27T13:48:55.218" v="177" actId="478"/>
        <pc:sldMkLst>
          <pc:docMk/>
          <pc:sldMk cId="2969974098" sldId="546"/>
        </pc:sldMkLst>
      </pc:sldChg>
      <pc:sldChg chg="delSp mod">
        <pc:chgData name="HADHRI Moncef" userId="895ef482-96ff-4dd4-9c74-0dc92131d96c" providerId="ADAL" clId="{A8C564F2-344E-466C-8CAB-C56DBFCE9D39}" dt="2023-11-27T13:48:44.680" v="172" actId="478"/>
        <pc:sldMkLst>
          <pc:docMk/>
          <pc:sldMk cId="4149952134" sldId="547"/>
        </pc:sldMkLst>
      </pc:sldChg>
      <pc:sldChg chg="delSp mod">
        <pc:chgData name="HADHRI Moncef" userId="895ef482-96ff-4dd4-9c74-0dc92131d96c" providerId="ADAL" clId="{A8C564F2-344E-466C-8CAB-C56DBFCE9D39}" dt="2023-11-27T13:49:03.663" v="179" actId="478"/>
        <pc:sldMkLst>
          <pc:docMk/>
          <pc:sldMk cId="2657724479" sldId="548"/>
        </pc:sldMkLst>
      </pc:sldChg>
      <pc:sldChg chg="delSp mod">
        <pc:chgData name="HADHRI Moncef" userId="895ef482-96ff-4dd4-9c74-0dc92131d96c" providerId="ADAL" clId="{A8C564F2-344E-466C-8CAB-C56DBFCE9D39}" dt="2023-11-27T13:48:49.103" v="175" actId="478"/>
        <pc:sldMkLst>
          <pc:docMk/>
          <pc:sldMk cId="4068901997" sldId="549"/>
        </pc:sldMkLst>
      </pc:sldChg>
      <pc:sldChg chg="addSp delSp modSp mod">
        <pc:chgData name="HADHRI Moncef" userId="895ef482-96ff-4dd4-9c74-0dc92131d96c" providerId="ADAL" clId="{A8C564F2-344E-466C-8CAB-C56DBFCE9D39}" dt="2023-11-27T14:22:05.079" v="475" actId="20577"/>
        <pc:sldMkLst>
          <pc:docMk/>
          <pc:sldMk cId="2066674344" sldId="2134805399"/>
        </pc:sldMkLst>
      </pc:sldChg>
      <pc:sldChg chg="addSp delSp modSp mod">
        <pc:chgData name="HADHRI Moncef" userId="895ef482-96ff-4dd4-9c74-0dc92131d96c" providerId="ADAL" clId="{A8C564F2-344E-466C-8CAB-C56DBFCE9D39}" dt="2023-11-27T14:04:47.043" v="301" actId="1076"/>
        <pc:sldMkLst>
          <pc:docMk/>
          <pc:sldMk cId="2170594155" sldId="2134805400"/>
        </pc:sldMkLst>
      </pc:sldChg>
      <pc:sldChg chg="addSp delSp modSp mod">
        <pc:chgData name="HADHRI Moncef" userId="895ef482-96ff-4dd4-9c74-0dc92131d96c" providerId="ADAL" clId="{A8C564F2-344E-466C-8CAB-C56DBFCE9D39}" dt="2023-11-27T14:53:34.743" v="542" actId="1076"/>
        <pc:sldMkLst>
          <pc:docMk/>
          <pc:sldMk cId="1990773259" sldId="2134805401"/>
        </pc:sldMkLst>
      </pc:sldChg>
      <pc:sldChg chg="del">
        <pc:chgData name="HADHRI Moncef" userId="895ef482-96ff-4dd4-9c74-0dc92131d96c" providerId="ADAL" clId="{A8C564F2-344E-466C-8CAB-C56DBFCE9D39}" dt="2023-11-27T14:42:57.071" v="524" actId="47"/>
        <pc:sldMkLst>
          <pc:docMk/>
          <pc:sldMk cId="2818283143" sldId="2134805402"/>
        </pc:sldMkLst>
      </pc:sldChg>
      <pc:sldChg chg="del">
        <pc:chgData name="HADHRI Moncef" userId="895ef482-96ff-4dd4-9c74-0dc92131d96c" providerId="ADAL" clId="{A8C564F2-344E-466C-8CAB-C56DBFCE9D39}" dt="2023-11-27T14:42:57.071" v="524" actId="47"/>
        <pc:sldMkLst>
          <pc:docMk/>
          <pc:sldMk cId="2844338126" sldId="2134805403"/>
        </pc:sldMkLst>
      </pc:sldChg>
      <pc:sldChg chg="addSp delSp modSp mod">
        <pc:chgData name="HADHRI Moncef" userId="895ef482-96ff-4dd4-9c74-0dc92131d96c" providerId="ADAL" clId="{A8C564F2-344E-466C-8CAB-C56DBFCE9D39}" dt="2023-11-27T14:15:47.408" v="426" actId="1076"/>
        <pc:sldMkLst>
          <pc:docMk/>
          <pc:sldMk cId="579598447" sldId="2134805417"/>
        </pc:sldMkLst>
      </pc:sldChg>
    </pc:docChg>
  </pc:docChgLst>
  <pc:docChgLst>
    <pc:chgData name="HADHRI Moncef" userId="895ef482-96ff-4dd4-9c74-0dc92131d96c" providerId="ADAL" clId="{E871B905-E2D9-4651-BB5B-07C41B3890F5}"/>
    <pc:docChg chg="undo custSel addSld delSld modSld">
      <pc:chgData name="HADHRI Moncef" userId="895ef482-96ff-4dd4-9c74-0dc92131d96c" providerId="ADAL" clId="{E871B905-E2D9-4651-BB5B-07C41B3890F5}" dt="2023-02-03T10:00:39.993" v="514" actId="20577"/>
      <pc:docMkLst>
        <pc:docMk/>
      </pc:docMkLst>
      <pc:sldChg chg="addSp delSp modSp mod">
        <pc:chgData name="HADHRI Moncef" userId="895ef482-96ff-4dd4-9c74-0dc92131d96c" providerId="ADAL" clId="{E871B905-E2D9-4651-BB5B-07C41B3890F5}" dt="2023-02-01T08:33:01.366" v="109" actId="14100"/>
        <pc:sldMkLst>
          <pc:docMk/>
          <pc:sldMk cId="3683067118" sldId="318"/>
        </pc:sldMkLst>
      </pc:sldChg>
      <pc:sldChg chg="modSp mod">
        <pc:chgData name="HADHRI Moncef" userId="895ef482-96ff-4dd4-9c74-0dc92131d96c" providerId="ADAL" clId="{E871B905-E2D9-4651-BB5B-07C41B3890F5}" dt="2023-02-03T10:00:39.993" v="514" actId="20577"/>
        <pc:sldMkLst>
          <pc:docMk/>
          <pc:sldMk cId="435617243" sldId="371"/>
        </pc:sldMkLst>
      </pc:sldChg>
      <pc:sldChg chg="addSp delSp modSp mod">
        <pc:chgData name="HADHRI Moncef" userId="895ef482-96ff-4dd4-9c74-0dc92131d96c" providerId="ADAL" clId="{E871B905-E2D9-4651-BB5B-07C41B3890F5}" dt="2023-02-01T09:03:20.599" v="148" actId="1076"/>
        <pc:sldMkLst>
          <pc:docMk/>
          <pc:sldMk cId="687316141" sldId="375"/>
        </pc:sldMkLst>
      </pc:sldChg>
      <pc:sldChg chg="addSp delSp modSp mod">
        <pc:chgData name="HADHRI Moncef" userId="895ef482-96ff-4dd4-9c74-0dc92131d96c" providerId="ADAL" clId="{E871B905-E2D9-4651-BB5B-07C41B3890F5}" dt="2023-02-01T09:10:13.597" v="166" actId="1076"/>
        <pc:sldMkLst>
          <pc:docMk/>
          <pc:sldMk cId="3203527764" sldId="378"/>
        </pc:sldMkLst>
      </pc:sldChg>
      <pc:sldChg chg="addSp delSp modSp mod">
        <pc:chgData name="HADHRI Moncef" userId="895ef482-96ff-4dd4-9c74-0dc92131d96c" providerId="ADAL" clId="{E871B905-E2D9-4651-BB5B-07C41B3890F5}" dt="2023-02-01T09:40:18.291" v="250" actId="1076"/>
        <pc:sldMkLst>
          <pc:docMk/>
          <pc:sldMk cId="3833533132" sldId="403"/>
        </pc:sldMkLst>
      </pc:sldChg>
      <pc:sldChg chg="addSp delSp modSp mod">
        <pc:chgData name="HADHRI Moncef" userId="895ef482-96ff-4dd4-9c74-0dc92131d96c" providerId="ADAL" clId="{E871B905-E2D9-4651-BB5B-07C41B3890F5}" dt="2023-02-01T09:55:19.394" v="288" actId="1076"/>
        <pc:sldMkLst>
          <pc:docMk/>
          <pc:sldMk cId="3416576635" sldId="406"/>
        </pc:sldMkLst>
      </pc:sldChg>
      <pc:sldChg chg="addSp delSp modSp mod">
        <pc:chgData name="HADHRI Moncef" userId="895ef482-96ff-4dd4-9c74-0dc92131d96c" providerId="ADAL" clId="{E871B905-E2D9-4651-BB5B-07C41B3890F5}" dt="2023-02-01T09:56:07.050" v="295" actId="1076"/>
        <pc:sldMkLst>
          <pc:docMk/>
          <pc:sldMk cId="1697530786" sldId="407"/>
        </pc:sldMkLst>
      </pc:sldChg>
      <pc:sldChg chg="addSp delSp modSp mod">
        <pc:chgData name="HADHRI Moncef" userId="895ef482-96ff-4dd4-9c74-0dc92131d96c" providerId="ADAL" clId="{E871B905-E2D9-4651-BB5B-07C41B3890F5}" dt="2023-02-01T09:59:34.818" v="301" actId="1076"/>
        <pc:sldMkLst>
          <pc:docMk/>
          <pc:sldMk cId="3455755029" sldId="408"/>
        </pc:sldMkLst>
      </pc:sldChg>
      <pc:sldChg chg="addSp delSp modSp mod">
        <pc:chgData name="HADHRI Moncef" userId="895ef482-96ff-4dd4-9c74-0dc92131d96c" providerId="ADAL" clId="{E871B905-E2D9-4651-BB5B-07C41B3890F5}" dt="2023-02-01T10:05:19.530" v="307" actId="1076"/>
        <pc:sldMkLst>
          <pc:docMk/>
          <pc:sldMk cId="1207978756" sldId="410"/>
        </pc:sldMkLst>
      </pc:sldChg>
      <pc:sldChg chg="addSp delSp modSp mod">
        <pc:chgData name="HADHRI Moncef" userId="895ef482-96ff-4dd4-9c74-0dc92131d96c" providerId="ADAL" clId="{E871B905-E2D9-4651-BB5B-07C41B3890F5}" dt="2023-02-01T10:07:02.594" v="312" actId="1076"/>
        <pc:sldMkLst>
          <pc:docMk/>
          <pc:sldMk cId="398650412" sldId="411"/>
        </pc:sldMkLst>
      </pc:sldChg>
      <pc:sldChg chg="addSp delSp modSp mod">
        <pc:chgData name="HADHRI Moncef" userId="895ef482-96ff-4dd4-9c74-0dc92131d96c" providerId="ADAL" clId="{E871B905-E2D9-4651-BB5B-07C41B3890F5}" dt="2023-02-01T09:15:21.982" v="187" actId="1076"/>
        <pc:sldMkLst>
          <pc:docMk/>
          <pc:sldMk cId="1067430973" sldId="415"/>
        </pc:sldMkLst>
      </pc:sldChg>
      <pc:sldChg chg="addSp delSp modSp del mod">
        <pc:chgData name="HADHRI Moncef" userId="895ef482-96ff-4dd4-9c74-0dc92131d96c" providerId="ADAL" clId="{E871B905-E2D9-4651-BB5B-07C41B3890F5}" dt="2023-02-03T09:59:54.276" v="508" actId="47"/>
        <pc:sldMkLst>
          <pc:docMk/>
          <pc:sldMk cId="3486425364" sldId="431"/>
        </pc:sldMkLst>
      </pc:sldChg>
      <pc:sldChg chg="addSp delSp modSp mod">
        <pc:chgData name="HADHRI Moncef" userId="895ef482-96ff-4dd4-9c74-0dc92131d96c" providerId="ADAL" clId="{E871B905-E2D9-4651-BB5B-07C41B3890F5}" dt="2023-02-01T10:49:26.575" v="457" actId="1076"/>
        <pc:sldMkLst>
          <pc:docMk/>
          <pc:sldMk cId="1348273151" sldId="432"/>
        </pc:sldMkLst>
      </pc:sldChg>
      <pc:sldChg chg="addSp delSp modSp mod">
        <pc:chgData name="HADHRI Moncef" userId="895ef482-96ff-4dd4-9c74-0dc92131d96c" providerId="ADAL" clId="{E871B905-E2D9-4651-BB5B-07C41B3890F5}" dt="2023-02-01T09:37:00.510" v="232" actId="1076"/>
        <pc:sldMkLst>
          <pc:docMk/>
          <pc:sldMk cId="4003818425" sldId="452"/>
        </pc:sldMkLst>
      </pc:sldChg>
      <pc:sldChg chg="del">
        <pc:chgData name="HADHRI Moncef" userId="895ef482-96ff-4dd4-9c74-0dc92131d96c" providerId="ADAL" clId="{E871B905-E2D9-4651-BB5B-07C41B3890F5}" dt="2023-01-19T09:08:02.153" v="1" actId="47"/>
        <pc:sldMkLst>
          <pc:docMk/>
          <pc:sldMk cId="2164755639" sldId="460"/>
        </pc:sldMkLst>
      </pc:sldChg>
      <pc:sldChg chg="del">
        <pc:chgData name="HADHRI Moncef" userId="895ef482-96ff-4dd4-9c74-0dc92131d96c" providerId="ADAL" clId="{E871B905-E2D9-4651-BB5B-07C41B3890F5}" dt="2023-01-19T09:08:02.153" v="1" actId="47"/>
        <pc:sldMkLst>
          <pc:docMk/>
          <pc:sldMk cId="2728146820" sldId="463"/>
        </pc:sldMkLst>
      </pc:sldChg>
      <pc:sldChg chg="delSp mod">
        <pc:chgData name="HADHRI Moncef" userId="895ef482-96ff-4dd4-9c74-0dc92131d96c" providerId="ADAL" clId="{E871B905-E2D9-4651-BB5B-07C41B3890F5}" dt="2023-02-01T09:41:20.907" v="251" actId="478"/>
        <pc:sldMkLst>
          <pc:docMk/>
          <pc:sldMk cId="2606274184" sldId="465"/>
        </pc:sldMkLst>
      </pc:sldChg>
      <pc:sldChg chg="del">
        <pc:chgData name="HADHRI Moncef" userId="895ef482-96ff-4dd4-9c74-0dc92131d96c" providerId="ADAL" clId="{E871B905-E2D9-4651-BB5B-07C41B3890F5}" dt="2023-01-19T09:08:02.153" v="1" actId="47"/>
        <pc:sldMkLst>
          <pc:docMk/>
          <pc:sldMk cId="1254126475" sldId="471"/>
        </pc:sldMkLst>
      </pc:sldChg>
      <pc:sldChg chg="addSp delSp modSp mod">
        <pc:chgData name="HADHRI Moncef" userId="895ef482-96ff-4dd4-9c74-0dc92131d96c" providerId="ADAL" clId="{E871B905-E2D9-4651-BB5B-07C41B3890F5}" dt="2023-02-01T09:18:26.821" v="204" actId="1076"/>
        <pc:sldMkLst>
          <pc:docMk/>
          <pc:sldMk cId="4223220080" sldId="473"/>
        </pc:sldMkLst>
      </pc:sldChg>
      <pc:sldChg chg="delSp modSp mod">
        <pc:chgData name="HADHRI Moncef" userId="895ef482-96ff-4dd4-9c74-0dc92131d96c" providerId="ADAL" clId="{E871B905-E2D9-4651-BB5B-07C41B3890F5}" dt="2023-02-01T12:50:34.576" v="499" actId="1076"/>
        <pc:sldMkLst>
          <pc:docMk/>
          <pc:sldMk cId="696988029" sldId="474"/>
        </pc:sldMkLst>
      </pc:sldChg>
      <pc:sldChg chg="delSp mod">
        <pc:chgData name="HADHRI Moncef" userId="895ef482-96ff-4dd4-9c74-0dc92131d96c" providerId="ADAL" clId="{E871B905-E2D9-4651-BB5B-07C41B3890F5}" dt="2023-02-01T09:33:44.649" v="220" actId="478"/>
        <pc:sldMkLst>
          <pc:docMk/>
          <pc:sldMk cId="1483498060" sldId="475"/>
        </pc:sldMkLst>
      </pc:sldChg>
      <pc:sldChg chg="addSp delSp modSp mod">
        <pc:chgData name="HADHRI Moncef" userId="895ef482-96ff-4dd4-9c74-0dc92131d96c" providerId="ADAL" clId="{E871B905-E2D9-4651-BB5B-07C41B3890F5}" dt="2023-02-01T10:33:09.520" v="381" actId="1076"/>
        <pc:sldMkLst>
          <pc:docMk/>
          <pc:sldMk cId="2264595889" sldId="478"/>
        </pc:sldMkLst>
      </pc:sldChg>
      <pc:sldChg chg="addSp delSp modSp mod">
        <pc:chgData name="HADHRI Moncef" userId="895ef482-96ff-4dd4-9c74-0dc92131d96c" providerId="ADAL" clId="{E871B905-E2D9-4651-BB5B-07C41B3890F5}" dt="2023-02-01T10:38:00.699" v="405" actId="1076"/>
        <pc:sldMkLst>
          <pc:docMk/>
          <pc:sldMk cId="1623204966" sldId="481"/>
        </pc:sldMkLst>
      </pc:sldChg>
      <pc:sldChg chg="addSp delSp modSp mod">
        <pc:chgData name="HADHRI Moncef" userId="895ef482-96ff-4dd4-9c74-0dc92131d96c" providerId="ADAL" clId="{E871B905-E2D9-4651-BB5B-07C41B3890F5}" dt="2023-02-01T10:28:22.657" v="352" actId="14100"/>
        <pc:sldMkLst>
          <pc:docMk/>
          <pc:sldMk cId="3050253954" sldId="483"/>
        </pc:sldMkLst>
      </pc:sldChg>
      <pc:sldChg chg="del">
        <pc:chgData name="HADHRI Moncef" userId="895ef482-96ff-4dd4-9c74-0dc92131d96c" providerId="ADAL" clId="{E871B905-E2D9-4651-BB5B-07C41B3890F5}" dt="2023-02-01T10:24:42.443" v="328" actId="47"/>
        <pc:sldMkLst>
          <pc:docMk/>
          <pc:sldMk cId="1397530830" sldId="484"/>
        </pc:sldMkLst>
      </pc:sldChg>
      <pc:sldChg chg="addSp delSp modSp mod">
        <pc:chgData name="HADHRI Moncef" userId="895ef482-96ff-4dd4-9c74-0dc92131d96c" providerId="ADAL" clId="{E871B905-E2D9-4651-BB5B-07C41B3890F5}" dt="2023-02-01T09:00:43.222" v="142" actId="1076"/>
        <pc:sldMkLst>
          <pc:docMk/>
          <pc:sldMk cId="3842426781" sldId="498"/>
        </pc:sldMkLst>
      </pc:sldChg>
      <pc:sldChg chg="addSp delSp modSp mod">
        <pc:chgData name="HADHRI Moncef" userId="895ef482-96ff-4dd4-9c74-0dc92131d96c" providerId="ADAL" clId="{E871B905-E2D9-4651-BB5B-07C41B3890F5}" dt="2023-02-01T10:39:53.668" v="410" actId="1076"/>
        <pc:sldMkLst>
          <pc:docMk/>
          <pc:sldMk cId="3132958973" sldId="502"/>
        </pc:sldMkLst>
      </pc:sldChg>
      <pc:sldChg chg="addSp delSp modSp mod">
        <pc:chgData name="HADHRI Moncef" userId="895ef482-96ff-4dd4-9c74-0dc92131d96c" providerId="ADAL" clId="{E871B905-E2D9-4651-BB5B-07C41B3890F5}" dt="2023-02-01T08:28:12.272" v="92" actId="1076"/>
        <pc:sldMkLst>
          <pc:docMk/>
          <pc:sldMk cId="4181001190" sldId="506"/>
        </pc:sldMkLst>
      </pc:sldChg>
      <pc:sldChg chg="addSp delSp modSp mod">
        <pc:chgData name="HADHRI Moncef" userId="895ef482-96ff-4dd4-9c74-0dc92131d96c" providerId="ADAL" clId="{E871B905-E2D9-4651-BB5B-07C41B3890F5}" dt="2023-02-01T13:09:18.147" v="504" actId="1076"/>
        <pc:sldMkLst>
          <pc:docMk/>
          <pc:sldMk cId="3951615262" sldId="508"/>
        </pc:sldMkLst>
      </pc:sldChg>
      <pc:sldChg chg="delSp modSp mod">
        <pc:chgData name="HADHRI Moncef" userId="895ef482-96ff-4dd4-9c74-0dc92131d96c" providerId="ADAL" clId="{E871B905-E2D9-4651-BB5B-07C41B3890F5}" dt="2023-02-01T08:37:31.484" v="134" actId="1076"/>
        <pc:sldMkLst>
          <pc:docMk/>
          <pc:sldMk cId="405463073" sldId="510"/>
        </pc:sldMkLst>
      </pc:sldChg>
      <pc:sldChg chg="addSp delSp modSp mod">
        <pc:chgData name="HADHRI Moncef" userId="895ef482-96ff-4dd4-9c74-0dc92131d96c" providerId="ADAL" clId="{E871B905-E2D9-4651-BB5B-07C41B3890F5}" dt="2023-02-01T09:16:16.312" v="198" actId="1076"/>
        <pc:sldMkLst>
          <pc:docMk/>
          <pc:sldMk cId="1376106718" sldId="511"/>
        </pc:sldMkLst>
      </pc:sldChg>
      <pc:sldChg chg="del">
        <pc:chgData name="HADHRI Moncef" userId="895ef482-96ff-4dd4-9c74-0dc92131d96c" providerId="ADAL" clId="{E871B905-E2D9-4651-BB5B-07C41B3890F5}" dt="2023-01-19T09:07:56.753" v="0" actId="47"/>
        <pc:sldMkLst>
          <pc:docMk/>
          <pc:sldMk cId="145335520" sldId="512"/>
        </pc:sldMkLst>
      </pc:sldChg>
      <pc:sldChg chg="addSp delSp modSp mod">
        <pc:chgData name="HADHRI Moncef" userId="895ef482-96ff-4dd4-9c74-0dc92131d96c" providerId="ADAL" clId="{E871B905-E2D9-4651-BB5B-07C41B3890F5}" dt="2023-02-01T10:54:30.106" v="487" actId="1076"/>
        <pc:sldMkLst>
          <pc:docMk/>
          <pc:sldMk cId="1361385511" sldId="514"/>
        </pc:sldMkLst>
      </pc:sldChg>
      <pc:sldChg chg="addSp delSp modSp mod">
        <pc:chgData name="HADHRI Moncef" userId="895ef482-96ff-4dd4-9c74-0dc92131d96c" providerId="ADAL" clId="{E871B905-E2D9-4651-BB5B-07C41B3890F5}" dt="2023-02-01T10:08:16.988" v="320" actId="20577"/>
        <pc:sldMkLst>
          <pc:docMk/>
          <pc:sldMk cId="4037864099" sldId="516"/>
        </pc:sldMkLst>
      </pc:sldChg>
      <pc:sldChg chg="addSp delSp modSp mod">
        <pc:chgData name="HADHRI Moncef" userId="895ef482-96ff-4dd4-9c74-0dc92131d96c" providerId="ADAL" clId="{E871B905-E2D9-4651-BB5B-07C41B3890F5}" dt="2023-02-01T10:09:10.019" v="327" actId="1076"/>
        <pc:sldMkLst>
          <pc:docMk/>
          <pc:sldMk cId="1410458262" sldId="517"/>
        </pc:sldMkLst>
      </pc:sldChg>
      <pc:sldChg chg="addSp delSp modSp mod">
        <pc:chgData name="HADHRI Moncef" userId="895ef482-96ff-4dd4-9c74-0dc92131d96c" providerId="ADAL" clId="{E871B905-E2D9-4651-BB5B-07C41B3890F5}" dt="2023-02-01T10:46:10.963" v="437" actId="1076"/>
        <pc:sldMkLst>
          <pc:docMk/>
          <pc:sldMk cId="2337721770" sldId="519"/>
        </pc:sldMkLst>
      </pc:sldChg>
      <pc:sldChg chg="addSp delSp modSp mod">
        <pc:chgData name="HADHRI Moncef" userId="895ef482-96ff-4dd4-9c74-0dc92131d96c" providerId="ADAL" clId="{E871B905-E2D9-4651-BB5B-07C41B3890F5}" dt="2023-02-01T10:46:40.189" v="444" actId="1076"/>
        <pc:sldMkLst>
          <pc:docMk/>
          <pc:sldMk cId="3995611519" sldId="520"/>
        </pc:sldMkLst>
      </pc:sldChg>
      <pc:sldChg chg="addSp delSp modSp mod">
        <pc:chgData name="HADHRI Moncef" userId="895ef482-96ff-4dd4-9c74-0dc92131d96c" providerId="ADAL" clId="{E871B905-E2D9-4651-BB5B-07C41B3890F5}" dt="2023-02-01T12:33:52.090" v="497" actId="1076"/>
        <pc:sldMkLst>
          <pc:docMk/>
          <pc:sldMk cId="1441936261" sldId="523"/>
        </pc:sldMkLst>
      </pc:sldChg>
      <pc:sldChg chg="addSp delSp modSp mod">
        <pc:chgData name="HADHRI Moncef" userId="895ef482-96ff-4dd4-9c74-0dc92131d96c" providerId="ADAL" clId="{E871B905-E2D9-4651-BB5B-07C41B3890F5}" dt="2023-02-01T08:27:38.545" v="82" actId="1076"/>
        <pc:sldMkLst>
          <pc:docMk/>
          <pc:sldMk cId="3652464793" sldId="524"/>
        </pc:sldMkLst>
      </pc:sldChg>
      <pc:sldChg chg="addSp delSp modSp mod">
        <pc:chgData name="HADHRI Moncef" userId="895ef482-96ff-4dd4-9c74-0dc92131d96c" providerId="ADAL" clId="{E871B905-E2D9-4651-BB5B-07C41B3890F5}" dt="2023-02-01T08:29:37.263" v="100" actId="14100"/>
        <pc:sldMkLst>
          <pc:docMk/>
          <pc:sldMk cId="1797321108" sldId="525"/>
        </pc:sldMkLst>
      </pc:sldChg>
      <pc:sldChg chg="addSp delSp modSp mod">
        <pc:chgData name="HADHRI Moncef" userId="895ef482-96ff-4dd4-9c74-0dc92131d96c" providerId="ADAL" clId="{E871B905-E2D9-4651-BB5B-07C41B3890F5}" dt="2023-02-01T08:34:11.181" v="115" actId="1076"/>
        <pc:sldMkLst>
          <pc:docMk/>
          <pc:sldMk cId="3840129972" sldId="526"/>
        </pc:sldMkLst>
      </pc:sldChg>
      <pc:sldChg chg="addSp delSp modSp mod">
        <pc:chgData name="HADHRI Moncef" userId="895ef482-96ff-4dd4-9c74-0dc92131d96c" providerId="ADAL" clId="{E871B905-E2D9-4651-BB5B-07C41B3890F5}" dt="2023-02-01T08:35:27.405" v="123" actId="1076"/>
        <pc:sldMkLst>
          <pc:docMk/>
          <pc:sldMk cId="611791896" sldId="527"/>
        </pc:sldMkLst>
      </pc:sldChg>
      <pc:sldChg chg="addSp delSp modSp mod">
        <pc:chgData name="HADHRI Moncef" userId="895ef482-96ff-4dd4-9c74-0dc92131d96c" providerId="ADAL" clId="{E871B905-E2D9-4651-BB5B-07C41B3890F5}" dt="2023-02-01T08:36:45.526" v="130" actId="1076"/>
        <pc:sldMkLst>
          <pc:docMk/>
          <pc:sldMk cId="4050344241" sldId="528"/>
        </pc:sldMkLst>
      </pc:sldChg>
      <pc:sldChg chg="addSp delSp modSp mod">
        <pc:chgData name="HADHRI Moncef" userId="895ef482-96ff-4dd4-9c74-0dc92131d96c" providerId="ADAL" clId="{E871B905-E2D9-4651-BB5B-07C41B3890F5}" dt="2023-02-01T09:07:41.173" v="156" actId="1076"/>
        <pc:sldMkLst>
          <pc:docMk/>
          <pc:sldMk cId="3970380033" sldId="529"/>
        </pc:sldMkLst>
      </pc:sldChg>
      <pc:sldChg chg="addSp delSp modSp mod">
        <pc:chgData name="HADHRI Moncef" userId="895ef482-96ff-4dd4-9c74-0dc92131d96c" providerId="ADAL" clId="{E871B905-E2D9-4651-BB5B-07C41B3890F5}" dt="2023-02-01T09:08:51.094" v="161" actId="1076"/>
        <pc:sldMkLst>
          <pc:docMk/>
          <pc:sldMk cId="2267228707" sldId="530"/>
        </pc:sldMkLst>
      </pc:sldChg>
      <pc:sldChg chg="addSp delSp modSp mod">
        <pc:chgData name="HADHRI Moncef" userId="895ef482-96ff-4dd4-9c74-0dc92131d96c" providerId="ADAL" clId="{E871B905-E2D9-4651-BB5B-07C41B3890F5}" dt="2023-02-01T09:12:46.197" v="172" actId="14100"/>
        <pc:sldMkLst>
          <pc:docMk/>
          <pc:sldMk cId="399590516" sldId="531"/>
        </pc:sldMkLst>
      </pc:sldChg>
      <pc:sldChg chg="addSp delSp modSp mod">
        <pc:chgData name="HADHRI Moncef" userId="895ef482-96ff-4dd4-9c74-0dc92131d96c" providerId="ADAL" clId="{E871B905-E2D9-4651-BB5B-07C41B3890F5}" dt="2023-02-01T09:15:36.799" v="192" actId="1076"/>
        <pc:sldMkLst>
          <pc:docMk/>
          <pc:sldMk cId="1113706935" sldId="532"/>
        </pc:sldMkLst>
      </pc:sldChg>
      <pc:sldChg chg="addSp delSp modSp mod">
        <pc:chgData name="HADHRI Moncef" userId="895ef482-96ff-4dd4-9c74-0dc92131d96c" providerId="ADAL" clId="{E871B905-E2D9-4651-BB5B-07C41B3890F5}" dt="2023-02-01T09:52:59.094" v="274" actId="1076"/>
        <pc:sldMkLst>
          <pc:docMk/>
          <pc:sldMk cId="160286315" sldId="533"/>
        </pc:sldMkLst>
      </pc:sldChg>
      <pc:sldChg chg="addSp delSp modSp mod">
        <pc:chgData name="HADHRI Moncef" userId="895ef482-96ff-4dd4-9c74-0dc92131d96c" providerId="ADAL" clId="{E871B905-E2D9-4651-BB5B-07C41B3890F5}" dt="2023-02-01T09:54:23.363" v="281" actId="1076"/>
        <pc:sldMkLst>
          <pc:docMk/>
          <pc:sldMk cId="3408810239" sldId="534"/>
        </pc:sldMkLst>
      </pc:sldChg>
      <pc:sldChg chg="addSp delSp modSp mod">
        <pc:chgData name="HADHRI Moncef" userId="895ef482-96ff-4dd4-9c74-0dc92131d96c" providerId="ADAL" clId="{E871B905-E2D9-4651-BB5B-07C41B3890F5}" dt="2023-02-01T10:27:14.719" v="343" actId="1076"/>
        <pc:sldMkLst>
          <pc:docMk/>
          <pc:sldMk cId="1580970320" sldId="536"/>
        </pc:sldMkLst>
      </pc:sldChg>
      <pc:sldChg chg="addSp delSp modSp mod">
        <pc:chgData name="HADHRI Moncef" userId="895ef482-96ff-4dd4-9c74-0dc92131d96c" providerId="ADAL" clId="{E871B905-E2D9-4651-BB5B-07C41B3890F5}" dt="2023-02-01T10:30:23.474" v="359" actId="1076"/>
        <pc:sldMkLst>
          <pc:docMk/>
          <pc:sldMk cId="3992291547" sldId="537"/>
        </pc:sldMkLst>
      </pc:sldChg>
      <pc:sldChg chg="addSp delSp modSp mod">
        <pc:chgData name="HADHRI Moncef" userId="895ef482-96ff-4dd4-9c74-0dc92131d96c" providerId="ADAL" clId="{E871B905-E2D9-4651-BB5B-07C41B3890F5}" dt="2023-02-01T10:40:39.659" v="412" actId="1076"/>
        <pc:sldMkLst>
          <pc:docMk/>
          <pc:sldMk cId="4234730277" sldId="538"/>
        </pc:sldMkLst>
      </pc:sldChg>
      <pc:sldChg chg="addSp delSp modSp mod">
        <pc:chgData name="HADHRI Moncef" userId="895ef482-96ff-4dd4-9c74-0dc92131d96c" providerId="ADAL" clId="{E871B905-E2D9-4651-BB5B-07C41B3890F5}" dt="2023-02-01T10:34:00.158" v="388" actId="1076"/>
        <pc:sldMkLst>
          <pc:docMk/>
          <pc:sldMk cId="4125945156" sldId="539"/>
        </pc:sldMkLst>
      </pc:sldChg>
      <pc:sldChg chg="addSp delSp modSp mod">
        <pc:chgData name="HADHRI Moncef" userId="895ef482-96ff-4dd4-9c74-0dc92131d96c" providerId="ADAL" clId="{E871B905-E2D9-4651-BB5B-07C41B3890F5}" dt="2023-02-01T10:35:39.126" v="397" actId="1076"/>
        <pc:sldMkLst>
          <pc:docMk/>
          <pc:sldMk cId="1691932536" sldId="540"/>
        </pc:sldMkLst>
      </pc:sldChg>
      <pc:sldChg chg="add">
        <pc:chgData name="HADHRI Moncef" userId="895ef482-96ff-4dd4-9c74-0dc92131d96c" providerId="ADAL" clId="{E871B905-E2D9-4651-BB5B-07C41B3890F5}" dt="2023-02-03T09:59:51.961" v="507"/>
        <pc:sldMkLst>
          <pc:docMk/>
          <pc:sldMk cId="1239266114" sldId="541"/>
        </pc:sldMkLst>
      </pc:sldChg>
      <pc:sldChg chg="addSp delSp modSp del mod">
        <pc:chgData name="HADHRI Moncef" userId="895ef482-96ff-4dd4-9c74-0dc92131d96c" providerId="ADAL" clId="{E871B905-E2D9-4651-BB5B-07C41B3890F5}" dt="2023-02-03T09:59:43.243" v="506" actId="47"/>
        <pc:sldMkLst>
          <pc:docMk/>
          <pc:sldMk cId="1967626632" sldId="541"/>
        </pc:sldMkLst>
      </pc:sldChg>
      <pc:sldChg chg="add">
        <pc:chgData name="HADHRI Moncef" userId="895ef482-96ff-4dd4-9c74-0dc92131d96c" providerId="ADAL" clId="{E871B905-E2D9-4651-BB5B-07C41B3890F5}" dt="2023-02-03T09:59:51.961" v="507"/>
        <pc:sldMkLst>
          <pc:docMk/>
          <pc:sldMk cId="1153277864" sldId="542"/>
        </pc:sldMkLst>
      </pc:sldChg>
      <pc:sldChg chg="addSp delSp modSp del mod">
        <pc:chgData name="HADHRI Moncef" userId="895ef482-96ff-4dd4-9c74-0dc92131d96c" providerId="ADAL" clId="{E871B905-E2D9-4651-BB5B-07C41B3890F5}" dt="2023-02-03T09:59:43.243" v="506" actId="47"/>
        <pc:sldMkLst>
          <pc:docMk/>
          <pc:sldMk cId="2098206098" sldId="542"/>
        </pc:sldMkLst>
      </pc:sldChg>
      <pc:sldChg chg="addSp delSp modSp mod">
        <pc:chgData name="HADHRI Moncef" userId="895ef482-96ff-4dd4-9c74-0dc92131d96c" providerId="ADAL" clId="{E871B905-E2D9-4651-BB5B-07C41B3890F5}" dt="2023-02-01T10:50:41.262" v="464" actId="1076"/>
        <pc:sldMkLst>
          <pc:docMk/>
          <pc:sldMk cId="3458925768" sldId="543"/>
        </pc:sldMkLst>
      </pc:sldChg>
      <pc:sldChg chg="addSp delSp modSp del mod">
        <pc:chgData name="HADHRI Moncef" userId="895ef482-96ff-4dd4-9c74-0dc92131d96c" providerId="ADAL" clId="{E871B905-E2D9-4651-BB5B-07C41B3890F5}" dt="2023-02-03T10:00:12.107" v="510" actId="47"/>
        <pc:sldMkLst>
          <pc:docMk/>
          <pc:sldMk cId="2211920524" sldId="544"/>
        </pc:sldMkLst>
      </pc:sldChg>
      <pc:sldChg chg="addSp delSp modSp del mod">
        <pc:chgData name="HADHRI Moncef" userId="895ef482-96ff-4dd4-9c74-0dc92131d96c" providerId="ADAL" clId="{E871B905-E2D9-4651-BB5B-07C41B3890F5}" dt="2023-02-03T10:00:22.279" v="512" actId="47"/>
        <pc:sldMkLst>
          <pc:docMk/>
          <pc:sldMk cId="2626064658" sldId="545"/>
        </pc:sldMkLst>
      </pc:sldChg>
      <pc:sldChg chg="addSp delSp modSp mod">
        <pc:chgData name="HADHRI Moncef" userId="895ef482-96ff-4dd4-9c74-0dc92131d96c" providerId="ADAL" clId="{E871B905-E2D9-4651-BB5B-07C41B3890F5}" dt="2023-02-01T12:51:29.657" v="500" actId="1076"/>
        <pc:sldMkLst>
          <pc:docMk/>
          <pc:sldMk cId="2969974098" sldId="546"/>
        </pc:sldMkLst>
      </pc:sldChg>
      <pc:sldChg chg="addSp delSp modSp mod">
        <pc:chgData name="HADHRI Moncef" userId="895ef482-96ff-4dd4-9c74-0dc92131d96c" providerId="ADAL" clId="{E871B905-E2D9-4651-BB5B-07C41B3890F5}" dt="2023-02-01T09:30:43.554" v="215" actId="14100"/>
        <pc:sldMkLst>
          <pc:docMk/>
          <pc:sldMk cId="4149952134" sldId="547"/>
        </pc:sldMkLst>
      </pc:sldChg>
      <pc:sldChg chg="addSp delSp modSp mod">
        <pc:chgData name="HADHRI Moncef" userId="895ef482-96ff-4dd4-9c74-0dc92131d96c" providerId="ADAL" clId="{E871B905-E2D9-4651-BB5B-07C41B3890F5}" dt="2023-02-01T09:42:20.036" v="259" actId="1076"/>
        <pc:sldMkLst>
          <pc:docMk/>
          <pc:sldMk cId="2657724479" sldId="548"/>
        </pc:sldMkLst>
      </pc:sldChg>
      <pc:sldChg chg="addSp delSp modSp mod">
        <pc:chgData name="HADHRI Moncef" userId="895ef482-96ff-4dd4-9c74-0dc92131d96c" providerId="ADAL" clId="{E871B905-E2D9-4651-BB5B-07C41B3890F5}" dt="2023-02-01T09:34:58.391" v="226" actId="1076"/>
        <pc:sldMkLst>
          <pc:docMk/>
          <pc:sldMk cId="4068901997" sldId="549"/>
        </pc:sldMkLst>
      </pc:sldChg>
      <pc:sldChg chg="addSp delSp modSp mod">
        <pc:chgData name="HADHRI Moncef" userId="895ef482-96ff-4dd4-9c74-0dc92131d96c" providerId="ADAL" clId="{E871B905-E2D9-4651-BB5B-07C41B3890F5}" dt="2023-02-01T09:48:27.488" v="268" actId="14100"/>
        <pc:sldMkLst>
          <pc:docMk/>
          <pc:sldMk cId="2491726269" sldId="2134805399"/>
        </pc:sldMkLst>
      </pc:sldChg>
      <pc:sldChg chg="add">
        <pc:chgData name="HADHRI Moncef" userId="895ef482-96ff-4dd4-9c74-0dc92131d96c" providerId="ADAL" clId="{E871B905-E2D9-4651-BB5B-07C41B3890F5}" dt="2023-02-03T09:59:39.805" v="505"/>
        <pc:sldMkLst>
          <pc:docMk/>
          <pc:sldMk cId="2170594155" sldId="2134805400"/>
        </pc:sldMkLst>
      </pc:sldChg>
      <pc:sldChg chg="add">
        <pc:chgData name="HADHRI Moncef" userId="895ef482-96ff-4dd4-9c74-0dc92131d96c" providerId="ADAL" clId="{E871B905-E2D9-4651-BB5B-07C41B3890F5}" dt="2023-02-03T09:59:39.805" v="505"/>
        <pc:sldMkLst>
          <pc:docMk/>
          <pc:sldMk cId="1990773259" sldId="2134805401"/>
        </pc:sldMkLst>
      </pc:sldChg>
      <pc:sldChg chg="add">
        <pc:chgData name="HADHRI Moncef" userId="895ef482-96ff-4dd4-9c74-0dc92131d96c" providerId="ADAL" clId="{E871B905-E2D9-4651-BB5B-07C41B3890F5}" dt="2023-02-03T10:00:08.530" v="509"/>
        <pc:sldMkLst>
          <pc:docMk/>
          <pc:sldMk cId="2818283143" sldId="2134805402"/>
        </pc:sldMkLst>
      </pc:sldChg>
      <pc:sldChg chg="add">
        <pc:chgData name="HADHRI Moncef" userId="895ef482-96ff-4dd4-9c74-0dc92131d96c" providerId="ADAL" clId="{E871B905-E2D9-4651-BB5B-07C41B3890F5}" dt="2023-02-03T10:00:20.649" v="511"/>
        <pc:sldMkLst>
          <pc:docMk/>
          <pc:sldMk cId="2844338126" sldId="2134805403"/>
        </pc:sldMkLst>
      </pc:sldChg>
    </pc:docChg>
  </pc:docChgLst>
  <pc:docChgLst>
    <pc:chgData name="HADHRI Moncef" userId="895ef482-96ff-4dd4-9c74-0dc92131d96c" providerId="ADAL" clId="{D2744BEB-55AD-403F-A1DB-30834BC0E3AC}"/>
    <pc:docChg chg="undo custSel addSld delSld modSld sldOrd">
      <pc:chgData name="HADHRI Moncef" userId="895ef482-96ff-4dd4-9c74-0dc92131d96c" providerId="ADAL" clId="{D2744BEB-55AD-403F-A1DB-30834BC0E3AC}" dt="2023-09-08T08:18:38.088" v="198"/>
      <pc:docMkLst>
        <pc:docMk/>
      </pc:docMkLst>
      <pc:sldChg chg="modSp mod">
        <pc:chgData name="HADHRI Moncef" userId="895ef482-96ff-4dd4-9c74-0dc92131d96c" providerId="ADAL" clId="{D2744BEB-55AD-403F-A1DB-30834BC0E3AC}" dt="2023-08-17T09:01:59.875" v="156" actId="20577"/>
        <pc:sldMkLst>
          <pc:docMk/>
          <pc:sldMk cId="435617243" sldId="371"/>
        </pc:sldMkLst>
      </pc:sldChg>
      <pc:sldChg chg="ord">
        <pc:chgData name="HADHRI Moncef" userId="895ef482-96ff-4dd4-9c74-0dc92131d96c" providerId="ADAL" clId="{D2744BEB-55AD-403F-A1DB-30834BC0E3AC}" dt="2023-08-17T09:01:35.787" v="117"/>
        <pc:sldMkLst>
          <pc:docMk/>
          <pc:sldMk cId="1920272730" sldId="372"/>
        </pc:sldMkLst>
      </pc:sldChg>
      <pc:sldChg chg="addSp delSp modSp mod ord">
        <pc:chgData name="HADHRI Moncef" userId="895ef482-96ff-4dd4-9c74-0dc92131d96c" providerId="ADAL" clId="{D2744BEB-55AD-403F-A1DB-30834BC0E3AC}" dt="2023-08-17T09:01:37.950" v="119"/>
        <pc:sldMkLst>
          <pc:docMk/>
          <pc:sldMk cId="3486425364" sldId="431"/>
        </pc:sldMkLst>
      </pc:sldChg>
      <pc:sldChg chg="addSp modSp">
        <pc:chgData name="HADHRI Moncef" userId="895ef482-96ff-4dd4-9c74-0dc92131d96c" providerId="ADAL" clId="{D2744BEB-55AD-403F-A1DB-30834BC0E3AC}" dt="2023-06-29T14:14:26.353" v="114"/>
        <pc:sldMkLst>
          <pc:docMk/>
          <pc:sldMk cId="3951615262" sldId="508"/>
        </pc:sldMkLst>
      </pc:sldChg>
      <pc:sldChg chg="addSp modSp">
        <pc:chgData name="HADHRI Moncef" userId="895ef482-96ff-4dd4-9c74-0dc92131d96c" providerId="ADAL" clId="{D2744BEB-55AD-403F-A1DB-30834BC0E3AC}" dt="2023-06-29T14:14:28.232" v="115"/>
        <pc:sldMkLst>
          <pc:docMk/>
          <pc:sldMk cId="1361385511" sldId="514"/>
        </pc:sldMkLst>
      </pc:sldChg>
      <pc:sldChg chg="addSp delSp modSp mod">
        <pc:chgData name="HADHRI Moncef" userId="895ef482-96ff-4dd4-9c74-0dc92131d96c" providerId="ADAL" clId="{D2744BEB-55AD-403F-A1DB-30834BC0E3AC}" dt="2023-06-29T14:14:06.498" v="111" actId="478"/>
        <pc:sldMkLst>
          <pc:docMk/>
          <pc:sldMk cId="3458925768" sldId="543"/>
        </pc:sldMkLst>
      </pc:sldChg>
      <pc:sldChg chg="add">
        <pc:chgData name="HADHRI Moncef" userId="895ef482-96ff-4dd4-9c74-0dc92131d96c" providerId="ADAL" clId="{D2744BEB-55AD-403F-A1DB-30834BC0E3AC}" dt="2023-09-08T08:18:38.088" v="198"/>
        <pc:sldMkLst>
          <pc:docMk/>
          <pc:sldMk cId="2066674344" sldId="2134805399"/>
        </pc:sldMkLst>
      </pc:sldChg>
      <pc:sldChg chg="addSp modSp del mod">
        <pc:chgData name="HADHRI Moncef" userId="895ef482-96ff-4dd4-9c74-0dc92131d96c" providerId="ADAL" clId="{D2744BEB-55AD-403F-A1DB-30834BC0E3AC}" dt="2023-09-08T08:18:31.112" v="197" actId="2696"/>
        <pc:sldMkLst>
          <pc:docMk/>
          <pc:sldMk cId="2491726269" sldId="2134805399"/>
        </pc:sldMkLst>
      </pc:sldChg>
      <pc:sldChg chg="addSp modSp">
        <pc:chgData name="HADHRI Moncef" userId="895ef482-96ff-4dd4-9c74-0dc92131d96c" providerId="ADAL" clId="{D2744BEB-55AD-403F-A1DB-30834BC0E3AC}" dt="2023-06-29T14:14:22.853" v="112"/>
        <pc:sldMkLst>
          <pc:docMk/>
          <pc:sldMk cId="2818283143" sldId="2134805402"/>
        </pc:sldMkLst>
      </pc:sldChg>
      <pc:sldChg chg="addSp modSp">
        <pc:chgData name="HADHRI Moncef" userId="895ef482-96ff-4dd4-9c74-0dc92131d96c" providerId="ADAL" clId="{D2744BEB-55AD-403F-A1DB-30834BC0E3AC}" dt="2023-06-29T14:14:24.840" v="113"/>
        <pc:sldMkLst>
          <pc:docMk/>
          <pc:sldMk cId="2844338126" sldId="2134805403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72F0ECD-7AA1-4B85-9BF1-A4DE3DB65EE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822632F-120D-420F-9E66-87EBB79DB54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299197-D86C-4467-ACB9-6E3DCCBBB4E2}" type="datetimeFigureOut">
              <a:rPr lang="en-US" smtClean="0"/>
              <a:t>1/23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92B547-1B00-4B71-8E35-6C418751080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7A15AA-0AA3-4A27-A2DD-FD4E67CE77A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B5F81C-CA8A-4DFE-BD36-748FDEF188E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4034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EB4EF4-26AE-41A7-8458-9A4ADA0E05F6}" type="datetimeFigureOut">
              <a:rPr lang="en-US" smtClean="0"/>
              <a:t>1/23/2025</a:t>
            </a:fld>
            <a:endParaRPr lang="en-US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DDE42F-E5B7-4D35-9EDA-31840E0659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02331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3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89312404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13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0108863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14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90534970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15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54123634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16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38309662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lvl="0" indent="-285750">
              <a:buFont typeface="Wingdings" panose="05000000000000000000" pitchFamily="2" charset="2"/>
              <a:buChar char="Ø"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DDE42F-E5B7-4D35-9EDA-31840E0659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101489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lvl="0" indent="-285750">
              <a:buFont typeface="Wingdings" panose="05000000000000000000" pitchFamily="2" charset="2"/>
              <a:buChar char="Ø"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DDE42F-E5B7-4D35-9EDA-31840E0659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048137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>
              <a:buClr>
                <a:srgbClr val="37601C"/>
              </a:buClr>
              <a:buFont typeface="Wingdings" panose="05000000000000000000" pitchFamily="2" charset="2"/>
              <a:buChar char=""/>
            </a:pPr>
            <a:r>
              <a:rPr lang="en-GB" sz="1800" b="1" dirty="0">
                <a:solidFill>
                  <a:srgbClr val="595959"/>
                </a:solidFill>
                <a:effectLst/>
                <a:uFill>
                  <a:solidFill>
                    <a:srgbClr val="528F2A"/>
                  </a:solidFill>
                </a:uFill>
                <a:latin typeface="Calibri" panose="020F0502020204030204" pitchFamily="34" charset="0"/>
                <a:ea typeface="Arial Unicode MS"/>
              </a:rPr>
              <a:t>China continues to gain share in the global chemical export </a:t>
            </a:r>
            <a:endParaRPr lang="en-GB" sz="1800" dirty="0">
              <a:solidFill>
                <a:srgbClr val="000000"/>
              </a:solidFill>
              <a:effectLst/>
              <a:uFill>
                <a:solidFill>
                  <a:srgbClr val="528F2A"/>
                </a:solidFill>
              </a:uFill>
              <a:latin typeface="Calibri" panose="020F0502020204030204" pitchFamily="34" charset="0"/>
              <a:ea typeface="Arial Unicode MS"/>
            </a:endParaRPr>
          </a:p>
          <a:p>
            <a:pPr marL="228600" algn="just"/>
            <a:r>
              <a:rPr lang="en-US" sz="1800" dirty="0">
                <a:solidFill>
                  <a:srgbClr val="595959"/>
                </a:solidFill>
                <a:effectLst/>
                <a:latin typeface="Calibri" panose="020F0502020204030204" pitchFamily="34" charset="0"/>
                <a:ea typeface="Arial Unicode MS"/>
              </a:rPr>
              <a:t>Long-term analysis shows that overall growth of chemicals demand and production as well as faster growth in emerging regions is a trend that is expected to continue in the future. With 44% of the world market share, China will continue to hold the top ranking in sales, a position once firmly held by Europe. Although competition in China’s chemical market is currently intensifying and demand growth is weaker than in the past. </a:t>
            </a:r>
          </a:p>
          <a:p>
            <a:pPr marL="228600" algn="just"/>
            <a:endParaRPr lang="en-US" sz="1800" dirty="0">
              <a:solidFill>
                <a:srgbClr val="595959"/>
              </a:solidFill>
              <a:effectLst/>
              <a:latin typeface="Calibri" panose="020F0502020204030204" pitchFamily="34" charset="0"/>
              <a:ea typeface="Arial Unicode MS"/>
            </a:endParaRPr>
          </a:p>
          <a:p>
            <a:pPr marL="228600" algn="just"/>
            <a:r>
              <a:rPr lang="en-US" sz="1800" dirty="0">
                <a:solidFill>
                  <a:srgbClr val="595959"/>
                </a:solidFill>
                <a:effectLst/>
                <a:latin typeface="Calibri" panose="020F0502020204030204" pitchFamily="34" charset="0"/>
                <a:ea typeface="Arial Unicode MS"/>
              </a:rPr>
              <a:t>A deeper trade analysis is carried out in order to </a:t>
            </a:r>
            <a:r>
              <a:rPr lang="en-US" sz="1800" u="sng" dirty="0">
                <a:solidFill>
                  <a:srgbClr val="595959"/>
                </a:solidFill>
                <a:effectLst/>
                <a:latin typeface="Calibri" panose="020F0502020204030204" pitchFamily="34" charset="0"/>
                <a:ea typeface="Arial Unicode MS"/>
              </a:rPr>
              <a:t>capture the loss of EU27 chemicals exports market share</a:t>
            </a:r>
            <a:r>
              <a:rPr lang="en-US" sz="1800" dirty="0">
                <a:solidFill>
                  <a:srgbClr val="595959"/>
                </a:solidFill>
                <a:effectLst/>
                <a:latin typeface="Calibri" panose="020F0502020204030204" pitchFamily="34" charset="0"/>
                <a:ea typeface="Arial Unicode MS"/>
              </a:rPr>
              <a:t> during the years (2002-2022). As shown in the chart above, with 17% in 2022, Europe is still the leader in the global chemicals export market, followed by China (14.4%) and the USA (12.6%). China is really dominating chemicals exports, and </a:t>
            </a:r>
            <a:r>
              <a:rPr lang="en-US" sz="1800" u="sng" dirty="0">
                <a:solidFill>
                  <a:srgbClr val="595959"/>
                </a:solidFill>
                <a:effectLst/>
                <a:latin typeface="Calibri" panose="020F0502020204030204" pitchFamily="34" charset="0"/>
                <a:ea typeface="Arial Unicode MS"/>
              </a:rPr>
              <a:t>gaining intensively export market share at the expense of Europe and the USA</a:t>
            </a:r>
            <a:r>
              <a:rPr lang="en-US" sz="1800" dirty="0">
                <a:solidFill>
                  <a:srgbClr val="595959"/>
                </a:solidFill>
                <a:effectLst/>
                <a:latin typeface="Calibri" panose="020F0502020204030204" pitchFamily="34" charset="0"/>
                <a:ea typeface="Arial Unicode MS"/>
              </a:rPr>
              <a:t>.  China’s global share went up from 4% in 2022 to 14.4% in 2022, while the EU27’s share dropped significantly from 25% to 17% during the same period. </a:t>
            </a:r>
            <a:endParaRPr lang="en-GB" sz="1800" dirty="0">
              <a:solidFill>
                <a:srgbClr val="000000"/>
              </a:solidFill>
              <a:effectLst/>
              <a:latin typeface="Calibri" panose="020F0502020204030204" pitchFamily="34" charset="0"/>
              <a:ea typeface="Arial Unicode MS"/>
            </a:endParaRPr>
          </a:p>
          <a:p>
            <a:pPr marL="228600" algn="just"/>
            <a:r>
              <a:rPr lang="en-US" sz="1800" dirty="0">
                <a:solidFill>
                  <a:srgbClr val="595959"/>
                </a:solidFill>
                <a:effectLst/>
                <a:latin typeface="Calibri" panose="020F0502020204030204" pitchFamily="34" charset="0"/>
                <a:ea typeface="Arial Unicode MS"/>
              </a:rPr>
              <a:t> </a:t>
            </a:r>
            <a:endParaRPr lang="en-GB" sz="1800" dirty="0">
              <a:solidFill>
                <a:srgbClr val="000000"/>
              </a:solidFill>
              <a:effectLst/>
              <a:latin typeface="Calibri" panose="020F0502020204030204" pitchFamily="34" charset="0"/>
              <a:ea typeface="Arial Unicode MS"/>
            </a:endParaRPr>
          </a:p>
          <a:p>
            <a:r>
              <a:rPr lang="en-GB" sz="1800" dirty="0">
                <a:solidFill>
                  <a:srgbClr val="595959"/>
                </a:solidFill>
                <a:effectLst/>
                <a:latin typeface="Times New Roman" panose="02020603050405020304" pitchFamily="18" charset="0"/>
                <a:ea typeface="Arial Unicode MS"/>
              </a:rPr>
              <a:t>Chinese chemical exports to high-cost Europe continued to increase over 2023/4 (primarily due to overcapacity in China with a favourable cost position). Europe is still reliant on imports of chemicals from China for several products. </a:t>
            </a:r>
            <a:r>
              <a:rPr lang="en-GB" sz="1800" u="sng" dirty="0">
                <a:solidFill>
                  <a:srgbClr val="595959"/>
                </a:solidFill>
                <a:effectLst/>
                <a:latin typeface="Times New Roman" panose="02020603050405020304" pitchFamily="18" charset="0"/>
                <a:ea typeface="Arial Unicode MS"/>
              </a:rPr>
              <a:t>Petrochemicals</a:t>
            </a:r>
            <a:r>
              <a:rPr lang="en-GB" sz="1800" dirty="0">
                <a:solidFill>
                  <a:srgbClr val="595959"/>
                </a:solidFill>
                <a:effectLst/>
                <a:latin typeface="Times New Roman" panose="02020603050405020304" pitchFamily="18" charset="0"/>
                <a:ea typeface="Arial Unicode MS"/>
              </a:rPr>
              <a:t> is more concerned than the other chemicals sectors</a:t>
            </a:r>
            <a:endParaRPr lang="en-GB" sz="1800" dirty="0">
              <a:solidFill>
                <a:srgbClr val="000000"/>
              </a:solidFill>
              <a:effectLst/>
              <a:latin typeface="Calibri" panose="020F0502020204030204" pitchFamily="34" charset="0"/>
              <a:ea typeface="Arial Unicode MS"/>
            </a:endParaRPr>
          </a:p>
          <a:p>
            <a:pPr algn="l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DDE42F-E5B7-4D35-9EDA-31840E0659CD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470677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21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63522773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22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56456095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 typeface="Arial" panose="020B0604020202020204" pitchFamily="34" charset="0"/>
              <a:buNone/>
            </a:pPr>
            <a:endParaRPr lang="en-GB" b="1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23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1372960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200" b="0" i="0" u="none" strike="noStrike" kern="120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4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54032182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24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67569198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32427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032366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656135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326767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648205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33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69191889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GB" sz="1200" b="1" u="sng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414115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1213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37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9167426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BF43B2-2A61-3183-0FCA-321797BC4C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4442E67-14B8-0513-53B8-299E2646DE5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4E25783-4D13-B2BE-27AD-EB555368173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200" b="0" i="0" u="none" strike="noStrike" kern="120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86562A-E97F-F582-6EE8-46E9BCB2330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5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9195762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38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00608119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39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77020896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40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15784302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41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63845023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42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63036245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43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81321944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44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15788002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45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50152977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47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228575721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48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6385252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6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446131084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6877839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50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474592320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51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207845631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52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38390161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53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07882486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54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853408554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55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865406052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57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359761512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58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844013934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59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2365301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7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040449030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v"/>
            </a:pPr>
            <a:endParaRPr lang="en-GB" sz="1200" b="0" i="1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60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4811434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8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8483369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9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0390135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10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0875487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12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0698785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Diapositive de t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7">
            <a:extLst>
              <a:ext uri="{FF2B5EF4-FFF2-40B4-BE49-F238E27FC236}">
                <a16:creationId xmlns:a16="http://schemas.microsoft.com/office/drawing/2014/main" id="{9EB67688-33ED-3348-BEE9-57061D2087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93" t="8928" r="7565" b="22695"/>
          <a:stretch/>
        </p:blipFill>
        <p:spPr>
          <a:xfrm>
            <a:off x="5215087" y="409093"/>
            <a:ext cx="6908800" cy="5969000"/>
          </a:xfrm>
          <a:prstGeom prst="rect">
            <a:avLst/>
          </a:prstGeom>
        </p:spPr>
      </p:pic>
      <p:pic>
        <p:nvPicPr>
          <p:cNvPr id="7" name="Picture 11">
            <a:extLst>
              <a:ext uri="{FF2B5EF4-FFF2-40B4-BE49-F238E27FC236}">
                <a16:creationId xmlns:a16="http://schemas.microsoft.com/office/drawing/2014/main" id="{A1660860-AAD8-7B49-9E3A-F39C51B90CA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8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8383979" cy="6858000"/>
          </a:xfrm>
          <a:prstGeom prst="rect">
            <a:avLst/>
          </a:prstGeom>
        </p:spPr>
      </p:pic>
      <p:grpSp>
        <p:nvGrpSpPr>
          <p:cNvPr id="9" name="Groupe 8">
            <a:extLst>
              <a:ext uri="{FF2B5EF4-FFF2-40B4-BE49-F238E27FC236}">
                <a16:creationId xmlns:a16="http://schemas.microsoft.com/office/drawing/2014/main" id="{CC8529C1-13BD-8642-8AEA-659BE509C422}"/>
              </a:ext>
            </a:extLst>
          </p:cNvPr>
          <p:cNvGrpSpPr/>
          <p:nvPr userDrawn="1"/>
        </p:nvGrpSpPr>
        <p:grpSpPr>
          <a:xfrm>
            <a:off x="0" y="0"/>
            <a:ext cx="1733804" cy="6877532"/>
            <a:chOff x="115451" y="0"/>
            <a:chExt cx="1296660" cy="5143500"/>
          </a:xfrm>
        </p:grpSpPr>
        <p:pic>
          <p:nvPicPr>
            <p:cNvPr id="10" name="Picture 12">
              <a:extLst>
                <a:ext uri="{FF2B5EF4-FFF2-40B4-BE49-F238E27FC236}">
                  <a16:creationId xmlns:a16="http://schemas.microsoft.com/office/drawing/2014/main" id="{5425C4CC-36EA-D34B-B5D7-042CDA54E9E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0422"/>
            <a:stretch/>
          </p:blipFill>
          <p:spPr>
            <a:xfrm>
              <a:off x="115451" y="0"/>
              <a:ext cx="1296660" cy="5143500"/>
            </a:xfrm>
            <a:prstGeom prst="rect">
              <a:avLst/>
            </a:prstGeom>
          </p:spPr>
        </p:pic>
        <p:pic>
          <p:nvPicPr>
            <p:cNvPr id="11" name="Image 10">
              <a:extLst>
                <a:ext uri="{FF2B5EF4-FFF2-40B4-BE49-F238E27FC236}">
                  <a16:creationId xmlns:a16="http://schemas.microsoft.com/office/drawing/2014/main" id="{E743725A-C796-514C-89B4-4342D5CCE5B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408757" y="2425649"/>
              <a:ext cx="632925" cy="281753"/>
            </a:xfrm>
            <a:prstGeom prst="rect">
              <a:avLst/>
            </a:prstGeom>
          </p:spPr>
        </p:pic>
      </p:grpSp>
      <p:sp>
        <p:nvSpPr>
          <p:cNvPr id="2" name="Titre 1">
            <a:extLst>
              <a:ext uri="{FF2B5EF4-FFF2-40B4-BE49-F238E27FC236}">
                <a16:creationId xmlns:a16="http://schemas.microsoft.com/office/drawing/2014/main" id="{CC823E54-D8E4-41E7-9091-9366A0046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6659302" cy="2387600"/>
          </a:xfrm>
        </p:spPr>
        <p:txBody>
          <a:bodyPr anchor="b"/>
          <a:lstStyle>
            <a:lvl1pPr algn="l">
              <a:defRPr sz="5000" b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0EBC4226-917C-4292-B446-C525B4F88BB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6659302" cy="165576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400"/>
              </a:spcBef>
              <a:buNone/>
              <a:defRPr sz="24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  <a:endParaRPr lang="en-US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A535927-DAB8-438C-A2BA-4F5FCEE60B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23999" y="6356350"/>
            <a:ext cx="9399105" cy="365125"/>
          </a:xfrm>
          <a:prstGeom prst="rect">
            <a:avLst/>
          </a:prstGeo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The European Chemical Industry Council, AISBL – Rue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Belliard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, 40 - 1040 Brussels – Belgium - </a:t>
            </a:r>
            <a:r>
              <a:rPr kumimoji="0" lang="fr-BE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Transparency</a:t>
            </a:r>
            <a:r>
              <a:rPr kumimoji="0" lang="fr-BE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 </a:t>
            </a:r>
            <a:r>
              <a:rPr kumimoji="0" lang="fr-BE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Register</a:t>
            </a:r>
            <a:r>
              <a:rPr kumimoji="0" lang="fr-BE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 n°64879142323-90</a:t>
            </a:r>
          </a:p>
        </p:txBody>
      </p:sp>
    </p:spTree>
    <p:extLst>
      <p:ext uri="{BB962C8B-B14F-4D97-AF65-F5344CB8AC3E}">
        <p14:creationId xmlns:p14="http://schemas.microsoft.com/office/powerpoint/2010/main" val="42527384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5625E33-457C-4472-9134-C08A6C26A2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368300"/>
            <a:ext cx="10944225" cy="681182"/>
          </a:xfrm>
        </p:spPr>
        <p:txBody>
          <a:bodyPr lIns="0"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650EA20-A465-4389-8F39-BAEC08D5B4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75389" y="1700213"/>
            <a:ext cx="5292724" cy="4068762"/>
          </a:xfrm>
        </p:spPr>
        <p:txBody>
          <a:bodyPr wrap="square" lIns="0"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41B8C7D-BB13-4F0B-AFEF-CA376E895B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3A15B80-78B6-4897-868D-CF24FE7EF3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0446B-4C1B-488A-AF43-F715FC8527F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FAFC911-E47C-41A8-95C9-EE4BD5178E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888" y="1087789"/>
            <a:ext cx="10944224" cy="276999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9" name="Espace réservé pour une image  8">
            <a:extLst>
              <a:ext uri="{FF2B5EF4-FFF2-40B4-BE49-F238E27FC236}">
                <a16:creationId xmlns:a16="http://schemas.microsoft.com/office/drawing/2014/main" id="{25F065E9-9176-4517-8949-270CDBD6730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3888" y="1700213"/>
            <a:ext cx="5292725" cy="4068762"/>
          </a:xfrm>
        </p:spPr>
        <p:txBody>
          <a:bodyPr lIns="0"/>
          <a:lstStyle/>
          <a:p>
            <a:endParaRPr lang="en-US"/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27F30670-EAC1-D14C-929C-719F0D9ACD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09083" y="6109218"/>
            <a:ext cx="9818976" cy="336116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sz="1200" dirty="0"/>
              <a:t>Notes and references</a:t>
            </a:r>
          </a:p>
        </p:txBody>
      </p:sp>
    </p:spTree>
    <p:extLst>
      <p:ext uri="{BB962C8B-B14F-4D97-AF65-F5344CB8AC3E}">
        <p14:creationId xmlns:p14="http://schemas.microsoft.com/office/powerpoint/2010/main" val="12308812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5625E33-457C-4472-9134-C08A6C26A2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368300"/>
            <a:ext cx="10944225" cy="681182"/>
          </a:xfrm>
        </p:spPr>
        <p:txBody>
          <a:bodyPr lIns="0"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41B8C7D-BB13-4F0B-AFEF-CA376E895B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3A15B80-78B6-4897-868D-CF24FE7EF3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0446B-4C1B-488A-AF43-F715FC8527F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FAFC911-E47C-41A8-95C9-EE4BD5178E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888" y="1087789"/>
            <a:ext cx="10944224" cy="276999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9" name="Espace réservé pour une image  8">
            <a:extLst>
              <a:ext uri="{FF2B5EF4-FFF2-40B4-BE49-F238E27FC236}">
                <a16:creationId xmlns:a16="http://schemas.microsoft.com/office/drawing/2014/main" id="{25F065E9-9176-4517-8949-270CDBD6730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3889" y="1700213"/>
            <a:ext cx="3492500" cy="4068762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Espace réservé pour une image  9">
            <a:extLst>
              <a:ext uri="{FF2B5EF4-FFF2-40B4-BE49-F238E27FC236}">
                <a16:creationId xmlns:a16="http://schemas.microsoft.com/office/drawing/2014/main" id="{866BB2C0-F580-417E-950C-0F5A80003C7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5775" y="1700213"/>
            <a:ext cx="3600450" cy="4068762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68BEB849-1749-4F87-AB60-53D1C5B2511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75613" y="1700213"/>
            <a:ext cx="3492500" cy="4068762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83CA85CD-7E43-C34E-84CD-38CD3E5915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09083" y="6109218"/>
            <a:ext cx="9818976" cy="336116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sz="1200" dirty="0"/>
              <a:t>Notes and references</a:t>
            </a:r>
          </a:p>
        </p:txBody>
      </p:sp>
    </p:spTree>
    <p:extLst>
      <p:ext uri="{BB962C8B-B14F-4D97-AF65-F5344CB8AC3E}">
        <p14:creationId xmlns:p14="http://schemas.microsoft.com/office/powerpoint/2010/main" val="42895410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5625E33-457C-4472-9134-C08A6C26A2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368300"/>
            <a:ext cx="10944225" cy="681182"/>
          </a:xfrm>
        </p:spPr>
        <p:txBody>
          <a:bodyPr lIns="0"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41B8C7D-BB13-4F0B-AFEF-CA376E895B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3A15B80-78B6-4897-868D-CF24FE7EF3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0446B-4C1B-488A-AF43-F715FC8527F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FAFC911-E47C-41A8-95C9-EE4BD5178E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888" y="1087789"/>
            <a:ext cx="10944224" cy="276999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9" name="Espace réservé pour une image  8">
            <a:extLst>
              <a:ext uri="{FF2B5EF4-FFF2-40B4-BE49-F238E27FC236}">
                <a16:creationId xmlns:a16="http://schemas.microsoft.com/office/drawing/2014/main" id="{25F065E9-9176-4517-8949-270CDBD6730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3889" y="1700213"/>
            <a:ext cx="3492500" cy="1946996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Espace réservé pour une image  9">
            <a:extLst>
              <a:ext uri="{FF2B5EF4-FFF2-40B4-BE49-F238E27FC236}">
                <a16:creationId xmlns:a16="http://schemas.microsoft.com/office/drawing/2014/main" id="{866BB2C0-F580-417E-950C-0F5A80003C7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5775" y="1700213"/>
            <a:ext cx="3600450" cy="1946996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68BEB849-1749-4F87-AB60-53D1C5B2511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75613" y="1700213"/>
            <a:ext cx="3492500" cy="1946996"/>
          </a:xfrm>
        </p:spPr>
        <p:txBody>
          <a:bodyPr/>
          <a:lstStyle/>
          <a:p>
            <a:endParaRPr lang="en-US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10BC40AB-518E-47C1-85C3-F375EDA748B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3888" y="3813175"/>
            <a:ext cx="3492500" cy="19558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  <a:endParaRPr lang="en-US" dirty="0"/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578D9560-0BAB-4859-9465-5F0D743AD88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95775" y="3813175"/>
            <a:ext cx="3600450" cy="194627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  <a:endParaRPr lang="en-US" dirty="0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7B5FF578-7C32-4C7B-9314-767499AE03D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75613" y="3813175"/>
            <a:ext cx="3492500" cy="19558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  <a:endParaRPr lang="en-US" dirty="0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543369D6-E27A-D04B-B38C-80F1FDF11E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09083" y="6109218"/>
            <a:ext cx="9818976" cy="336116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sz="1200" dirty="0"/>
              <a:t>Notes and references</a:t>
            </a:r>
          </a:p>
        </p:txBody>
      </p:sp>
    </p:spTree>
    <p:extLst>
      <p:ext uri="{BB962C8B-B14F-4D97-AF65-F5344CB8AC3E}">
        <p14:creationId xmlns:p14="http://schemas.microsoft.com/office/powerpoint/2010/main" val="24899070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6C5D8BB-F7A6-4BD4-B6BE-A35B2413AD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B4ADBD2-5DC3-4DB0-BF5A-C2A476189F8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3888" y="1700213"/>
            <a:ext cx="5292726" cy="4068762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6143E058-30A9-46DA-9342-76BFB66E514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5388" y="1700213"/>
            <a:ext cx="5292724" cy="4068762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4F91AFB1-4F7A-4225-88D5-A3D6552385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050989F3-CBA7-4FCB-970A-7323847206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0446B-4C1B-488A-AF43-F715FC8527F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544BEB3-F954-4F4B-BD18-ACB5F337E1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888" y="1087789"/>
            <a:ext cx="10944224" cy="276999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37885EEF-B099-864D-BF4E-9624D87AEF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09083" y="6109218"/>
            <a:ext cx="9818976" cy="336116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sz="1200" dirty="0"/>
              <a:t>Notes and references</a:t>
            </a:r>
          </a:p>
        </p:txBody>
      </p:sp>
    </p:spTree>
    <p:extLst>
      <p:ext uri="{BB962C8B-B14F-4D97-AF65-F5344CB8AC3E}">
        <p14:creationId xmlns:p14="http://schemas.microsoft.com/office/powerpoint/2010/main" val="28810450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ux conten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contenu 12">
            <a:extLst>
              <a:ext uri="{FF2B5EF4-FFF2-40B4-BE49-F238E27FC236}">
                <a16:creationId xmlns:a16="http://schemas.microsoft.com/office/drawing/2014/main" id="{2D94E19D-4310-47ED-8E92-8BC3DC687C9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95775" y="1700213"/>
            <a:ext cx="3600450" cy="4068762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6C5D8BB-F7A6-4BD4-B6BE-A35B2413AD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B4ADBD2-5DC3-4DB0-BF5A-C2A476189F8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3888" y="1700213"/>
            <a:ext cx="3492500" cy="4068762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6143E058-30A9-46DA-9342-76BFB66E514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75612" y="1700213"/>
            <a:ext cx="3492499" cy="4068762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4F91AFB1-4F7A-4225-88D5-A3D6552385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050989F3-CBA7-4FCB-970A-7323847206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0446B-4C1B-488A-AF43-F715FC8527F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544BEB3-F954-4F4B-BD18-ACB5F337E1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888" y="1087789"/>
            <a:ext cx="10944224" cy="276999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B7A00E41-3917-BD46-97C4-714EE2DE9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09083" y="6109218"/>
            <a:ext cx="9818976" cy="336116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sz="1200" dirty="0"/>
              <a:t>Notes and references</a:t>
            </a:r>
          </a:p>
        </p:txBody>
      </p:sp>
    </p:spTree>
    <p:extLst>
      <p:ext uri="{BB962C8B-B14F-4D97-AF65-F5344CB8AC3E}">
        <p14:creationId xmlns:p14="http://schemas.microsoft.com/office/powerpoint/2010/main" val="5373984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Quote and Statem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1">
            <a:extLst>
              <a:ext uri="{FF2B5EF4-FFF2-40B4-BE49-F238E27FC236}">
                <a16:creationId xmlns:a16="http://schemas.microsoft.com/office/drawing/2014/main" id="{B760BE26-BA1F-AB40-944E-7E0838AAAC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23214"/>
            <a:ext cx="12192000" cy="6881214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4D5BE2FE-1114-AE48-B1CE-0B6CAA8F03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0508"/>
          <a:stretch/>
        </p:blipFill>
        <p:spPr>
          <a:xfrm>
            <a:off x="-63662" y="-24235"/>
            <a:ext cx="1163257" cy="6893810"/>
          </a:xfrm>
          <a:prstGeom prst="rect">
            <a:avLst/>
          </a:prstGeom>
          <a:effectLst>
            <a:outerShdw blurRad="114300" dist="38100" dir="2700000" algn="tl" rotWithShape="0">
              <a:prstClr val="black">
                <a:alpha val="19000"/>
              </a:prstClr>
            </a:outerShdw>
          </a:effectLst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02486979-F147-4AF8-922C-98896A3258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867" y="1052513"/>
            <a:ext cx="7260358" cy="3997469"/>
          </a:xfrm>
        </p:spPr>
        <p:txBody>
          <a:bodyPr anchor="t"/>
          <a:lstStyle>
            <a:lvl1pPr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8912088-2066-43FD-B453-4A719A6E2A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5868" y="5199856"/>
            <a:ext cx="7260358" cy="1024299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pic>
        <p:nvPicPr>
          <p:cNvPr id="8" name="Image 7" descr="Une image contenant objet, nid d’abeille&#10;&#10;Description générée automatiquement">
            <a:extLst>
              <a:ext uri="{FF2B5EF4-FFF2-40B4-BE49-F238E27FC236}">
                <a16:creationId xmlns:a16="http://schemas.microsoft.com/office/drawing/2014/main" id="{4FCA5A00-0B74-4C62-9F9F-CA2332A0CB8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8707" y="5927376"/>
            <a:ext cx="1369325" cy="593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64991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 and Graph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198B762-7389-4B7C-8A9C-04585DFA48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705E5F77-CEF4-4744-ACD0-B272C9C18E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620EFA98-0041-45D1-8E92-F216A959E6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0446B-4C1B-488A-AF43-F715FC8527F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Espace réservé du graphique 7">
            <a:extLst>
              <a:ext uri="{FF2B5EF4-FFF2-40B4-BE49-F238E27FC236}">
                <a16:creationId xmlns:a16="http://schemas.microsoft.com/office/drawing/2014/main" id="{4BA6C3F1-5C13-4DAE-A84F-63C5EC905041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4295775" y="1412875"/>
            <a:ext cx="7272338" cy="4356100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4A7CD079-CE59-4CF1-84ED-C8CD0FD88A1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3888" y="1412875"/>
            <a:ext cx="3492500" cy="43561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43C37DC4-8DB1-B94E-9F9F-02CD92DAD8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09083" y="6109218"/>
            <a:ext cx="9818976" cy="336116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sz="1200" dirty="0"/>
              <a:t>Notes and references</a:t>
            </a:r>
          </a:p>
        </p:txBody>
      </p:sp>
    </p:spTree>
    <p:extLst>
      <p:ext uri="{BB962C8B-B14F-4D97-AF65-F5344CB8AC3E}">
        <p14:creationId xmlns:p14="http://schemas.microsoft.com/office/powerpoint/2010/main" val="17500810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2767C972-7052-4ED9-8926-BCC0DAF08F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A88A87FB-3EB5-4D88-BD67-B7CFD9543D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0446B-4C1B-488A-AF43-F715FC8527F7}" type="slidenum">
              <a:rPr lang="en-US" smtClean="0"/>
              <a:t>‹#›</a:t>
            </a:fld>
            <a:endParaRPr lang="en-US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6A61D8D-75DD-8740-9E8C-08BD06A0BE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09083" y="6109218"/>
            <a:ext cx="9818976" cy="336116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sz="1200" dirty="0"/>
              <a:t>Notes and references</a:t>
            </a:r>
          </a:p>
        </p:txBody>
      </p:sp>
    </p:spTree>
    <p:extLst>
      <p:ext uri="{BB962C8B-B14F-4D97-AF65-F5344CB8AC3E}">
        <p14:creationId xmlns:p14="http://schemas.microsoft.com/office/powerpoint/2010/main" val="27377532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A390154-79BA-4168-8692-9F9C0BDD70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530DF2B-11A7-4C81-816D-C8134B7F2B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32B93F93-DB06-487F-A916-A109A78A271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5C77282-84C3-4777-B7F8-2670BC337E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D2312860-43C5-43DF-B796-3463F996EA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0446B-4C1B-488A-AF43-F715FC8527F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41518FAB-0778-9E41-8E6C-ED80A093AE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09083" y="6109218"/>
            <a:ext cx="9818976" cy="336116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sz="1200" dirty="0"/>
              <a:t>Notes and references</a:t>
            </a:r>
          </a:p>
        </p:txBody>
      </p:sp>
    </p:spTree>
    <p:extLst>
      <p:ext uri="{BB962C8B-B14F-4D97-AF65-F5344CB8AC3E}">
        <p14:creationId xmlns:p14="http://schemas.microsoft.com/office/powerpoint/2010/main" val="26595659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DD11A5-1847-4998-9995-AD194BC460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F31A7A4A-D630-43D7-9084-C30646F89D4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68FE4B48-4700-4B44-B1AF-290E3CA0731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22D775D3-D118-4977-9268-A5E81C1B7D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584A9762-7BA7-42A4-82D6-30F0916ACE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0446B-4C1B-488A-AF43-F715FC8527F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276EF85D-A9D4-1A4D-8DA7-D339999667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09083" y="6109218"/>
            <a:ext cx="9818976" cy="336116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sz="1200" dirty="0"/>
              <a:t>Notes and references</a:t>
            </a:r>
          </a:p>
        </p:txBody>
      </p:sp>
    </p:spTree>
    <p:extLst>
      <p:ext uri="{BB962C8B-B14F-4D97-AF65-F5344CB8AC3E}">
        <p14:creationId xmlns:p14="http://schemas.microsoft.com/office/powerpoint/2010/main" val="20228996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e de t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1">
            <a:extLst>
              <a:ext uri="{FF2B5EF4-FFF2-40B4-BE49-F238E27FC236}">
                <a16:creationId xmlns:a16="http://schemas.microsoft.com/office/drawing/2014/main" id="{0B31FADB-61BE-C44C-A4DF-52F88DDCE5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23214"/>
            <a:ext cx="8364101" cy="6881214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CC823E54-D8E4-41E7-9091-9366A0046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6253655" cy="2387600"/>
          </a:xfrm>
        </p:spPr>
        <p:txBody>
          <a:bodyPr anchor="b"/>
          <a:lstStyle>
            <a:lvl1pPr algn="l">
              <a:defRPr sz="5000" b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0EBC4226-917C-4292-B446-C525B4F88BB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6253655" cy="165576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400"/>
              </a:spcBef>
              <a:buNone/>
              <a:defRPr sz="24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  <a:endParaRPr lang="en-US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A535927-DAB8-438C-A2BA-4F5FCEE60B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23998" y="6356350"/>
            <a:ext cx="10522227" cy="365125"/>
          </a:xfrm>
          <a:prstGeom prst="rect">
            <a:avLst/>
          </a:prstGeo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The European Chemical Industry Council, AISBL – Rue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Belliard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, 40 - 1040 Brussels – Belgium - </a:t>
            </a:r>
            <a:r>
              <a:rPr kumimoji="0" lang="fr-BE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Transparency</a:t>
            </a:r>
            <a:r>
              <a:rPr kumimoji="0" lang="fr-BE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 </a:t>
            </a:r>
            <a:r>
              <a:rPr kumimoji="0" lang="fr-BE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Register</a:t>
            </a:r>
            <a:r>
              <a:rPr kumimoji="0" lang="fr-BE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 n°64879142323-90</a:t>
            </a:r>
          </a:p>
        </p:txBody>
      </p:sp>
      <p:sp>
        <p:nvSpPr>
          <p:cNvPr id="7" name="Espace réservé pour une image  6">
            <a:extLst>
              <a:ext uri="{FF2B5EF4-FFF2-40B4-BE49-F238E27FC236}">
                <a16:creationId xmlns:a16="http://schemas.microsoft.com/office/drawing/2014/main" id="{A9DD1C05-965A-47AC-8A79-DFF4CC069DE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356922" y="0"/>
            <a:ext cx="3835078" cy="6858000"/>
          </a:xfrm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 Click to add a background image</a:t>
            </a: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F75A233F-6FA5-8B41-BAF8-2D1B3099D0D5}"/>
              </a:ext>
            </a:extLst>
          </p:cNvPr>
          <p:cNvGrpSpPr/>
          <p:nvPr userDrawn="1"/>
        </p:nvGrpSpPr>
        <p:grpSpPr>
          <a:xfrm>
            <a:off x="0" y="0"/>
            <a:ext cx="1733804" cy="6877532"/>
            <a:chOff x="115451" y="0"/>
            <a:chExt cx="1296660" cy="5143500"/>
          </a:xfrm>
        </p:grpSpPr>
        <p:pic>
          <p:nvPicPr>
            <p:cNvPr id="8" name="Picture 12">
              <a:extLst>
                <a:ext uri="{FF2B5EF4-FFF2-40B4-BE49-F238E27FC236}">
                  <a16:creationId xmlns:a16="http://schemas.microsoft.com/office/drawing/2014/main" id="{57020232-20CE-5744-9122-AF54567FEA4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0422"/>
            <a:stretch/>
          </p:blipFill>
          <p:spPr>
            <a:xfrm>
              <a:off x="115451" y="0"/>
              <a:ext cx="1296660" cy="5143500"/>
            </a:xfrm>
            <a:prstGeom prst="rect">
              <a:avLst/>
            </a:prstGeom>
          </p:spPr>
        </p:pic>
        <p:pic>
          <p:nvPicPr>
            <p:cNvPr id="9" name="Image 8">
              <a:extLst>
                <a:ext uri="{FF2B5EF4-FFF2-40B4-BE49-F238E27FC236}">
                  <a16:creationId xmlns:a16="http://schemas.microsoft.com/office/drawing/2014/main" id="{7139A256-A98D-D545-83A1-3005BBABEE8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408757" y="2425649"/>
              <a:ext cx="632925" cy="2817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723237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3742" y="441066"/>
            <a:ext cx="10212593" cy="9789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73742" y="1538302"/>
            <a:ext cx="11139892" cy="451959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  <a:lvl2pPr marL="265113" indent="-265113">
              <a:buFont typeface="Arial" panose="020B0604020202020204" pitchFamily="34" charset="0"/>
              <a:buChar char="•"/>
              <a:defRPr/>
            </a:lvl2pPr>
            <a:lvl3pPr marL="538163" indent="-273050">
              <a:buFont typeface="Calibri" panose="020F0502020204030204" pitchFamily="34" charset="0"/>
              <a:buChar char="–"/>
              <a:defRPr/>
            </a:lvl3pPr>
            <a:lvl4pPr marL="809625" indent="-271463">
              <a:buFont typeface="Calibri" panose="020F0502020204030204" pitchFamily="34" charset="0"/>
              <a:buChar char="◦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Slide Number Placeholder 2"/>
          <p:cNvSpPr txBox="1">
            <a:spLocks/>
          </p:cNvSpPr>
          <p:nvPr userDrawn="1"/>
        </p:nvSpPr>
        <p:spPr bwMode="gray">
          <a:xfrm>
            <a:off x="8969196" y="6466592"/>
            <a:ext cx="27444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sz="900" dirty="0"/>
              <a:t>Page </a:t>
            </a:r>
            <a:fld id="{6984F883-9912-4EFB-8404-2A825476CACA}" type="slidenum">
              <a:rPr lang="fr-BE" sz="900" smtClean="0"/>
              <a:pPr/>
              <a:t>‹#›</a:t>
            </a:fld>
            <a:endParaRPr lang="fr-BE" sz="900" dirty="0"/>
          </a:p>
        </p:txBody>
      </p:sp>
    </p:spTree>
    <p:extLst>
      <p:ext uri="{BB962C8B-B14F-4D97-AF65-F5344CB8AC3E}">
        <p14:creationId xmlns:p14="http://schemas.microsoft.com/office/powerpoint/2010/main" val="2022421996"/>
      </p:ext>
    </p:extLst>
  </p:cSld>
  <p:clrMapOvr>
    <a:masterClrMapping/>
  </p:clrMapOvr>
  <p:transition spd="slow"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6250060"/>
      </p:ext>
    </p:extLst>
  </p:cSld>
  <p:clrMapOvr>
    <a:masterClrMapping/>
  </p:clrMapOvr>
  <p:transition>
    <p:random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5625E33-457C-4472-9134-C08A6C26A2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365125"/>
            <a:ext cx="10944225" cy="684357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650EA20-A465-4389-8F39-BAEC08D5B4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7" y="1412875"/>
            <a:ext cx="10944225" cy="4356100"/>
          </a:xfrm>
        </p:spPr>
        <p:txBody>
          <a:bodyPr lIns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41B8C7D-BB13-4F0B-AFEF-CA376E895BA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32509" y="6549592"/>
            <a:ext cx="2743200" cy="298017"/>
          </a:xfrm>
        </p:spPr>
        <p:txBody>
          <a:bodyPr/>
          <a:lstStyle/>
          <a:p>
            <a:endParaRPr lang="en-US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EE7A716-9932-4A2A-A948-A470E71251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09083" y="6109218"/>
            <a:ext cx="9818976" cy="336116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sz="1200" dirty="0"/>
              <a:t>Notes and references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3A15B80-78B6-4897-868D-CF24FE7EF3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0446B-4C1B-488A-AF43-F715FC8527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33184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1">
            <a:extLst>
              <a:ext uri="{FF2B5EF4-FFF2-40B4-BE49-F238E27FC236}">
                <a16:creationId xmlns:a16="http://schemas.microsoft.com/office/drawing/2014/main" id="{4C682968-718B-7E47-B4F2-A5436018D8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23214"/>
            <a:ext cx="12192000" cy="6881214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F5625E33-457C-4472-9134-C08A6C26A2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365125"/>
            <a:ext cx="10944225" cy="68435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650EA20-A465-4389-8F39-BAEC08D5B4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7" y="1412875"/>
            <a:ext cx="10944225" cy="435610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41B8C7D-BB13-4F0B-AFEF-CA376E895B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3A15B80-78B6-4897-868D-CF24FE7EF3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830446B-4C1B-488A-AF43-F715FC8527F7}" type="slidenum">
              <a:rPr lang="en-US" smtClean="0"/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55343FCE-47FF-8F45-9072-719B2EAE71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09083" y="6109218"/>
            <a:ext cx="9818976" cy="336116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otes and references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D6498C52-E4EB-C147-9DA9-651CC13938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0508"/>
          <a:stretch/>
        </p:blipFill>
        <p:spPr>
          <a:xfrm>
            <a:off x="-63662" y="-24235"/>
            <a:ext cx="1163257" cy="6893810"/>
          </a:xfrm>
          <a:prstGeom prst="rect">
            <a:avLst/>
          </a:prstGeom>
          <a:effectLst>
            <a:outerShdw blurRad="114300" dist="38100" dir="2700000" algn="tl" rotWithShape="0">
              <a:prstClr val="black">
                <a:alpha val="19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260592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5625E33-457C-4472-9134-C08A6C26A2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368300"/>
            <a:ext cx="10944225" cy="681182"/>
          </a:xfrm>
        </p:spPr>
        <p:txBody>
          <a:bodyPr lIns="0"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650EA20-A465-4389-8F39-BAEC08D5B4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8" y="1700213"/>
            <a:ext cx="10937833" cy="4069998"/>
          </a:xfrm>
        </p:spPr>
        <p:txBody>
          <a:bodyPr wrap="square" lIns="0"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41B8C7D-BB13-4F0B-AFEF-CA376E895B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3A15B80-78B6-4897-868D-CF24FE7EF3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0446B-4C1B-488A-AF43-F715FC8527F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FAFC911-E47C-41A8-95C9-EE4BD5178E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7496" y="1087789"/>
            <a:ext cx="10944225" cy="276999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0FB6159D-D73C-0D48-BFD8-8211A02AD1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09083" y="6109218"/>
            <a:ext cx="9818976" cy="336116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sz="1200" dirty="0"/>
              <a:t>Notes and references</a:t>
            </a:r>
          </a:p>
        </p:txBody>
      </p:sp>
    </p:spTree>
    <p:extLst>
      <p:ext uri="{BB962C8B-B14F-4D97-AF65-F5344CB8AC3E}">
        <p14:creationId xmlns:p14="http://schemas.microsoft.com/office/powerpoint/2010/main" val="25298624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Photograph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pour une image  8">
            <a:extLst>
              <a:ext uri="{FF2B5EF4-FFF2-40B4-BE49-F238E27FC236}">
                <a16:creationId xmlns:a16="http://schemas.microsoft.com/office/drawing/2014/main" id="{B5787CE3-B537-493F-8DAE-59060428B0E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3889" y="1700213"/>
            <a:ext cx="10944224" cy="4068762"/>
          </a:xfrm>
        </p:spPr>
        <p:txBody>
          <a:bodyPr lIns="0"/>
          <a:lstStyle/>
          <a:p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5625E33-457C-4472-9134-C08A6C26A2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368300"/>
            <a:ext cx="10944225" cy="681182"/>
          </a:xfrm>
        </p:spPr>
        <p:txBody>
          <a:bodyPr lIns="0"/>
          <a:lstStyle/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41B8C7D-BB13-4F0B-AFEF-CA376E895B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3A15B80-78B6-4897-868D-CF24FE7EF3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0446B-4C1B-488A-AF43-F715FC8527F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FAFC911-E47C-41A8-95C9-EE4BD5178E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888" y="1087789"/>
            <a:ext cx="10944224" cy="276999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D5FAC492-A01A-8C47-A761-1985A65065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09083" y="6109218"/>
            <a:ext cx="9818976" cy="336116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sz="1200" dirty="0"/>
              <a:t>Notes and references</a:t>
            </a:r>
          </a:p>
        </p:txBody>
      </p:sp>
    </p:spTree>
    <p:extLst>
      <p:ext uri="{BB962C8B-B14F-4D97-AF65-F5344CB8AC3E}">
        <p14:creationId xmlns:p14="http://schemas.microsoft.com/office/powerpoint/2010/main" val="35207865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5625E33-457C-4472-9134-C08A6C26A2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368300"/>
            <a:ext cx="10944225" cy="681182"/>
          </a:xfrm>
        </p:spPr>
        <p:txBody>
          <a:bodyPr lIns="0"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650EA20-A465-4389-8F39-BAEC08D5B4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8" y="1700213"/>
            <a:ext cx="5298929" cy="4069997"/>
          </a:xfrm>
        </p:spPr>
        <p:txBody>
          <a:bodyPr wrap="square" l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fr-FR" dirty="0"/>
              <a:t>Cliquez pour modifier les styles du texte</a:t>
            </a:r>
          </a:p>
          <a:p>
            <a:pPr lvl="0"/>
            <a:r>
              <a:rPr lang="fr-FR" dirty="0"/>
              <a:t>du masque</a:t>
            </a:r>
            <a:endParaRPr lang="en-US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41B8C7D-BB13-4F0B-AFEF-CA376E895B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3A15B80-78B6-4897-868D-CF24FE7EF3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0446B-4C1B-488A-AF43-F715FC8527F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FAFC911-E47C-41A8-95C9-EE4BD5178E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888" y="1087789"/>
            <a:ext cx="10944224" cy="276999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9" name="Espace réservé pour une image  8">
            <a:extLst>
              <a:ext uri="{FF2B5EF4-FFF2-40B4-BE49-F238E27FC236}">
                <a16:creationId xmlns:a16="http://schemas.microsoft.com/office/drawing/2014/main" id="{25F065E9-9176-4517-8949-270CDBD6730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69184" y="1700213"/>
            <a:ext cx="5298927" cy="4069998"/>
          </a:xfrm>
        </p:spPr>
        <p:txBody>
          <a:bodyPr lIns="0"/>
          <a:lstStyle/>
          <a:p>
            <a:endParaRPr lang="en-US"/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124F2BD1-C7E8-0A48-954A-EDE92A46DC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09083" y="6109218"/>
            <a:ext cx="9818976" cy="336116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sz="1200" dirty="0"/>
              <a:t>Notes and references</a:t>
            </a:r>
          </a:p>
        </p:txBody>
      </p:sp>
    </p:spTree>
    <p:extLst>
      <p:ext uri="{BB962C8B-B14F-4D97-AF65-F5344CB8AC3E}">
        <p14:creationId xmlns:p14="http://schemas.microsoft.com/office/powerpoint/2010/main" val="10859190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5625E33-457C-4472-9134-C08A6C26A2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368300"/>
            <a:ext cx="10944223" cy="681182"/>
          </a:xfrm>
        </p:spPr>
        <p:txBody>
          <a:bodyPr lIns="0"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650EA20-A465-4389-8F39-BAEC08D5B4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8" y="1700213"/>
            <a:ext cx="5298929" cy="4069998"/>
          </a:xfrm>
        </p:spPr>
        <p:txBody>
          <a:bodyPr wrap="square" lIns="0"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41B8C7D-BB13-4F0B-AFEF-CA376E895B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3A15B80-78B6-4897-868D-CF24FE7EF3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0446B-4C1B-488A-AF43-F715FC8527F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FAFC911-E47C-41A8-95C9-EE4BD5178E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888" y="1087790"/>
            <a:ext cx="10944224" cy="276999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9" name="Espace réservé pour une image  8">
            <a:extLst>
              <a:ext uri="{FF2B5EF4-FFF2-40B4-BE49-F238E27FC236}">
                <a16:creationId xmlns:a16="http://schemas.microsoft.com/office/drawing/2014/main" id="{25F065E9-9176-4517-8949-270CDBD6730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69185" y="1700213"/>
            <a:ext cx="5298927" cy="4069998"/>
          </a:xfrm>
        </p:spPr>
        <p:txBody>
          <a:bodyPr lIns="0"/>
          <a:lstStyle/>
          <a:p>
            <a:endParaRPr lang="en-US"/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8B923C92-9075-8B45-BAE4-580685C66A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09083" y="6109218"/>
            <a:ext cx="9818976" cy="336116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sz="1200" dirty="0"/>
              <a:t>Notes and references</a:t>
            </a:r>
          </a:p>
        </p:txBody>
      </p:sp>
    </p:spTree>
    <p:extLst>
      <p:ext uri="{BB962C8B-B14F-4D97-AF65-F5344CB8AC3E}">
        <p14:creationId xmlns:p14="http://schemas.microsoft.com/office/powerpoint/2010/main" val="14571612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5625E33-457C-4472-9134-C08A6C26A2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368300"/>
            <a:ext cx="10944225" cy="681182"/>
          </a:xfrm>
        </p:spPr>
        <p:txBody>
          <a:bodyPr lIns="0"/>
          <a:lstStyle/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650EA20-A465-4389-8F39-BAEC08D5B4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75389" y="1700214"/>
            <a:ext cx="5292722" cy="4069997"/>
          </a:xfrm>
        </p:spPr>
        <p:txBody>
          <a:bodyPr wrap="square" l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fr-FR" dirty="0"/>
              <a:t>Cliquez pour modifier les styles du texte</a:t>
            </a:r>
          </a:p>
          <a:p>
            <a:pPr lvl="0"/>
            <a:r>
              <a:rPr lang="fr-FR" dirty="0"/>
              <a:t>du masque</a:t>
            </a:r>
            <a:endParaRPr lang="en-US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41B8C7D-BB13-4F0B-AFEF-CA376E895B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3A15B80-78B6-4897-868D-CF24FE7EF3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0446B-4C1B-488A-AF43-F715FC8527F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FAFC911-E47C-41A8-95C9-EE4BD5178E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888" y="1087789"/>
            <a:ext cx="10944224" cy="276999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9" name="Espace réservé pour une image  8">
            <a:extLst>
              <a:ext uri="{FF2B5EF4-FFF2-40B4-BE49-F238E27FC236}">
                <a16:creationId xmlns:a16="http://schemas.microsoft.com/office/drawing/2014/main" id="{25F065E9-9176-4517-8949-270CDBD6730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3889" y="1700213"/>
            <a:ext cx="5292724" cy="4069998"/>
          </a:xfrm>
        </p:spPr>
        <p:txBody>
          <a:bodyPr lIns="0"/>
          <a:lstStyle/>
          <a:p>
            <a:endParaRPr lang="en-US"/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94800549-EDB0-804A-9F6D-D7C7FB455F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09083" y="6109218"/>
            <a:ext cx="9818976" cy="336116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sz="1200" dirty="0"/>
              <a:t>Notes and references</a:t>
            </a:r>
          </a:p>
        </p:txBody>
      </p:sp>
    </p:spTree>
    <p:extLst>
      <p:ext uri="{BB962C8B-B14F-4D97-AF65-F5344CB8AC3E}">
        <p14:creationId xmlns:p14="http://schemas.microsoft.com/office/powerpoint/2010/main" val="38304434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67BF30C5-5E32-4496-BFE9-558EF8D7DE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365125"/>
            <a:ext cx="10944225" cy="684357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/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69DCD8C3-7BF7-43B5-B94A-F094507EF0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1414606"/>
            <a:ext cx="10944225" cy="4354369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 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E9D6721-80CE-44ED-A354-8974317C435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77792" y="6549592"/>
            <a:ext cx="2743200" cy="2980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58CE00A-5D1F-440F-8771-1693A3D811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4213" y="6213444"/>
            <a:ext cx="640462" cy="2876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8830446B-4C1B-488A-AF43-F715FC8527F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E7690443-161D-BF4C-8C8B-2C071A1830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0508"/>
          <a:stretch/>
        </p:blipFill>
        <p:spPr>
          <a:xfrm>
            <a:off x="-63662" y="-24235"/>
            <a:ext cx="1163257" cy="6893810"/>
          </a:xfrm>
          <a:prstGeom prst="rect">
            <a:avLst/>
          </a:prstGeom>
          <a:effectLst>
            <a:outerShdw blurRad="114300" dist="38100" dir="2700000" algn="tl" rotWithShape="0">
              <a:prstClr val="black">
                <a:alpha val="19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653472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50" r:id="rId3"/>
    <p:sldLayoutId id="2147483674" r:id="rId4"/>
    <p:sldLayoutId id="2147483664" r:id="rId5"/>
    <p:sldLayoutId id="2147483665" r:id="rId6"/>
    <p:sldLayoutId id="2147483667" r:id="rId7"/>
    <p:sldLayoutId id="2147483666" r:id="rId8"/>
    <p:sldLayoutId id="2147483669" r:id="rId9"/>
    <p:sldLayoutId id="2147483668" r:id="rId10"/>
    <p:sldLayoutId id="2147483670" r:id="rId11"/>
    <p:sldLayoutId id="2147483671" r:id="rId12"/>
    <p:sldLayoutId id="2147483652" r:id="rId13"/>
    <p:sldLayoutId id="2147483672" r:id="rId14"/>
    <p:sldLayoutId id="2147483673" r:id="rId15"/>
    <p:sldLayoutId id="2147483654" r:id="rId16"/>
    <p:sldLayoutId id="2147483655" r:id="rId17"/>
    <p:sldLayoutId id="2147483656" r:id="rId18"/>
    <p:sldLayoutId id="2147483657" r:id="rId19"/>
    <p:sldLayoutId id="2147483675" r:id="rId20"/>
    <p:sldLayoutId id="2147483676" r:id="rId2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tx1">
              <a:lumMod val="65000"/>
              <a:lumOff val="35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3"/>
        </a:buClr>
        <a:buFont typeface="Arial" panose="020B0604020202020204" pitchFamily="34" charset="0"/>
        <a:buChar char="•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Calibri" panose="020F0502020204030204" pitchFamily="34" charset="0"/>
        <a:buChar char="—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90" userDrawn="1">
          <p15:clr>
            <a:srgbClr val="F26B43"/>
          </p15:clr>
        </p15:guide>
        <p15:guide id="3" pos="3840" userDrawn="1">
          <p15:clr>
            <a:srgbClr val="F26B43"/>
          </p15:clr>
        </p15:guide>
        <p15:guide id="4" pos="3727" userDrawn="1">
          <p15:clr>
            <a:srgbClr val="F26B43"/>
          </p15:clr>
        </p15:guide>
        <p15:guide id="5" pos="3953" userDrawn="1">
          <p15:clr>
            <a:srgbClr val="F26B43"/>
          </p15:clr>
        </p15:guide>
        <p15:guide id="6" pos="7287" userDrawn="1">
          <p15:clr>
            <a:srgbClr val="F26B43"/>
          </p15:clr>
        </p15:guide>
        <p15:guide id="7" orient="horz" pos="232" userDrawn="1">
          <p15:clr>
            <a:srgbClr val="F26B43"/>
          </p15:clr>
        </p15:guide>
        <p15:guide id="8" orient="horz" pos="663" userDrawn="1">
          <p15:clr>
            <a:srgbClr val="F26B43"/>
          </p15:clr>
        </p15:guide>
        <p15:guide id="10" orient="horz" pos="1071" userDrawn="1">
          <p15:clr>
            <a:srgbClr val="F26B43"/>
          </p15:clr>
        </p15:guide>
        <p15:guide id="11" orient="horz" pos="3634" userDrawn="1">
          <p15:clr>
            <a:srgbClr val="F26B43"/>
          </p15:clr>
        </p15:guide>
        <p15:guide id="12" orient="horz" pos="3748" userDrawn="1">
          <p15:clr>
            <a:srgbClr val="F26B43"/>
          </p15:clr>
        </p15:guide>
        <p15:guide id="13" pos="393" userDrawn="1">
          <p15:clr>
            <a:srgbClr val="F26B43"/>
          </p15:clr>
        </p15:guide>
        <p15:guide id="14" pos="2593" userDrawn="1">
          <p15:clr>
            <a:srgbClr val="F26B43"/>
          </p15:clr>
        </p15:guide>
        <p15:guide id="15" pos="2706" userDrawn="1">
          <p15:clr>
            <a:srgbClr val="F26B43"/>
          </p15:clr>
        </p15:guide>
        <p15:guide id="16" pos="4974" userDrawn="1">
          <p15:clr>
            <a:srgbClr val="F26B43"/>
          </p15:clr>
        </p15:guide>
        <p15:guide id="17" pos="508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.xml"/><Relationship Id="rId6" Type="http://schemas.openxmlformats.org/officeDocument/2006/relationships/image" Target="../media/image23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.xml"/><Relationship Id="rId6" Type="http://schemas.openxmlformats.org/officeDocument/2006/relationships/image" Target="../media/image24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0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0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0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0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0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0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0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0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0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0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0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0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0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0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0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0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0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0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0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0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0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hyperlink" Target="https://cefic.org/about-us/membership/" TargetMode="External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77418E4-1C13-4BA5-9F99-F8304D2A21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444591"/>
            <a:ext cx="6659302" cy="2387600"/>
          </a:xfrm>
        </p:spPr>
        <p:txBody>
          <a:bodyPr>
            <a:normAutofit/>
          </a:bodyPr>
          <a:lstStyle/>
          <a:p>
            <a:r>
              <a:rPr lang="fr-BE" sz="3600" b="0" dirty="0"/>
              <a:t>The European Chemical </a:t>
            </a:r>
            <a:r>
              <a:rPr lang="fr-BE" sz="3600" b="0" dirty="0" err="1"/>
              <a:t>industry</a:t>
            </a:r>
            <a:r>
              <a:rPr lang="fr-BE" sz="3600" b="0" dirty="0"/>
              <a:t> </a:t>
            </a:r>
            <a:br>
              <a:rPr lang="fr-BE" b="0" dirty="0"/>
            </a:br>
            <a:r>
              <a:rPr lang="fr-BE" b="0" dirty="0" err="1"/>
              <a:t>Facts</a:t>
            </a:r>
            <a:r>
              <a:rPr lang="fr-BE" b="0" dirty="0"/>
              <a:t> and Figures 2024</a:t>
            </a:r>
            <a:endParaRPr lang="en-US" dirty="0"/>
          </a:p>
        </p:txBody>
      </p:sp>
      <p:sp>
        <p:nvSpPr>
          <p:cNvPr id="7" name="Sous-titre 6">
            <a:extLst>
              <a:ext uri="{FF2B5EF4-FFF2-40B4-BE49-F238E27FC236}">
                <a16:creationId xmlns:a16="http://schemas.microsoft.com/office/drawing/2014/main" id="{66FB7B9E-1E0F-534F-9A68-2F855FF12D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757647"/>
            <a:ext cx="6659302" cy="1655762"/>
          </a:xfrm>
        </p:spPr>
        <p:txBody>
          <a:bodyPr>
            <a:normAutofit/>
          </a:bodyPr>
          <a:lstStyle/>
          <a:p>
            <a:r>
              <a:rPr lang="fr-FR" dirty="0"/>
              <a:t>A vital part of </a:t>
            </a:r>
            <a:r>
              <a:rPr lang="fr-FR" dirty="0" err="1"/>
              <a:t>Europe’s</a:t>
            </a:r>
            <a:r>
              <a:rPr lang="fr-FR" dirty="0"/>
              <a:t> Future</a:t>
            </a:r>
          </a:p>
          <a:p>
            <a:endParaRPr lang="fr-FR" dirty="0"/>
          </a:p>
          <a:p>
            <a:endParaRPr lang="fr-FR" dirty="0"/>
          </a:p>
          <a:p>
            <a:r>
              <a:rPr lang="fr-BE" sz="1800" b="1" dirty="0" err="1"/>
              <a:t>January</a:t>
            </a:r>
            <a:r>
              <a:rPr lang="fr-BE" sz="1800" b="1" dirty="0"/>
              <a:t> 2025</a:t>
            </a:r>
            <a:endParaRPr lang="en-BE" sz="1800" b="1" dirty="0"/>
          </a:p>
          <a:p>
            <a:endParaRPr lang="fr-FR" dirty="0"/>
          </a:p>
          <a:p>
            <a:endParaRPr lang="fr-FR" dirty="0"/>
          </a:p>
          <a:p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A0269C9-074F-4983-8AFC-40E93D3463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r>
              <a:rPr lang="en-US" sz="900" dirty="0">
                <a:solidFill>
                  <a:prstClr val="white"/>
                </a:solidFill>
              </a:rPr>
              <a:t>The European Chemical Industry Council, AISBL – Rue </a:t>
            </a:r>
            <a:r>
              <a:rPr lang="en-US" sz="900" dirty="0" err="1">
                <a:solidFill>
                  <a:prstClr val="white"/>
                </a:solidFill>
              </a:rPr>
              <a:t>Belliard</a:t>
            </a:r>
            <a:r>
              <a:rPr lang="en-US" sz="900" dirty="0">
                <a:solidFill>
                  <a:prstClr val="white"/>
                </a:solidFill>
              </a:rPr>
              <a:t>, 40 - 1040 Brussels – Belgium - </a:t>
            </a:r>
            <a:r>
              <a:rPr lang="fr-BE" sz="900" dirty="0" err="1">
                <a:solidFill>
                  <a:prstClr val="white"/>
                </a:solidFill>
              </a:rPr>
              <a:t>Transparency</a:t>
            </a:r>
            <a:r>
              <a:rPr lang="fr-BE" sz="900" dirty="0">
                <a:solidFill>
                  <a:prstClr val="white"/>
                </a:solidFill>
              </a:rPr>
              <a:t> </a:t>
            </a:r>
            <a:r>
              <a:rPr lang="fr-BE" sz="900" dirty="0" err="1">
                <a:solidFill>
                  <a:prstClr val="white"/>
                </a:solidFill>
              </a:rPr>
              <a:t>Register</a:t>
            </a:r>
            <a:r>
              <a:rPr lang="fr-BE" sz="900" dirty="0">
                <a:solidFill>
                  <a:prstClr val="white"/>
                </a:solidFill>
              </a:rPr>
              <a:t> n°64879142323-90</a:t>
            </a:r>
          </a:p>
        </p:txBody>
      </p:sp>
    </p:spTree>
    <p:extLst>
      <p:ext uri="{BB962C8B-B14F-4D97-AF65-F5344CB8AC3E}">
        <p14:creationId xmlns:p14="http://schemas.microsoft.com/office/powerpoint/2010/main" val="4356172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58802" y="270946"/>
            <a:ext cx="10212593" cy="539435"/>
          </a:xfrm>
        </p:spPr>
        <p:txBody>
          <a:bodyPr>
            <a:noAutofit/>
          </a:bodyPr>
          <a:lstStyle/>
          <a:p>
            <a:r>
              <a:rPr lang="en-GB" sz="2600" b="0" dirty="0"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ore than half of EU chemicals are supplied to the industry</a:t>
            </a:r>
            <a:endParaRPr lang="fr-BE" sz="2600" b="0" dirty="0">
              <a:solidFill>
                <a:schemeClr val="accent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320EC4C-0138-0294-B53D-79158DA4E6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80091" y="1083137"/>
            <a:ext cx="7543623" cy="5671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598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77418E4-1C13-4BA5-9F99-F8304D2A21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54517" y="1359570"/>
            <a:ext cx="6253655" cy="2387600"/>
          </a:xfrm>
        </p:spPr>
        <p:txBody>
          <a:bodyPr>
            <a:normAutofit/>
          </a:bodyPr>
          <a:lstStyle/>
          <a:p>
            <a:r>
              <a:rPr lang="fr-BE" sz="3600" dirty="0"/>
              <a:t>2. Trade </a:t>
            </a:r>
            <a:r>
              <a:rPr lang="fr-BE" sz="3600" dirty="0" err="1"/>
              <a:t>Development</a:t>
            </a:r>
            <a:r>
              <a:rPr lang="fr-BE" sz="3600" dirty="0"/>
              <a:t> </a:t>
            </a:r>
            <a:endParaRPr lang="en-US" sz="3600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A0269C9-074F-4983-8AFC-40E93D3463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he European Chemical Industry Council, AISBL – Rue </a:t>
            </a:r>
            <a:r>
              <a:rPr lang="en-US" dirty="0" err="1"/>
              <a:t>Belliard</a:t>
            </a:r>
            <a:r>
              <a:rPr lang="en-US" dirty="0"/>
              <a:t>, 40 - 1040 Brussels – Belgium - </a:t>
            </a:r>
            <a:r>
              <a:rPr lang="fr-BE" dirty="0" err="1"/>
              <a:t>Transparency</a:t>
            </a:r>
            <a:r>
              <a:rPr lang="fr-BE" dirty="0"/>
              <a:t> </a:t>
            </a:r>
            <a:r>
              <a:rPr lang="fr-BE" dirty="0" err="1"/>
              <a:t>Register</a:t>
            </a:r>
            <a:r>
              <a:rPr lang="fr-BE" dirty="0"/>
              <a:t> n°64879142323-90</a:t>
            </a:r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5427EE7F-0DDB-4C71-8B1A-D5C44E3C15D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56922" y="-26123"/>
            <a:ext cx="3835078" cy="6898820"/>
          </a:xfrm>
        </p:spPr>
      </p:pic>
    </p:spTree>
    <p:extLst>
      <p:ext uri="{BB962C8B-B14F-4D97-AF65-F5344CB8AC3E}">
        <p14:creationId xmlns:p14="http://schemas.microsoft.com/office/powerpoint/2010/main" val="10073892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8291" y="218062"/>
            <a:ext cx="10212593" cy="597621"/>
          </a:xfrm>
        </p:spPr>
        <p:txBody>
          <a:bodyPr>
            <a:noAutofit/>
          </a:bodyPr>
          <a:lstStyle/>
          <a:p>
            <a:r>
              <a:rPr lang="en-US" sz="2600" b="0" dirty="0">
                <a:solidFill>
                  <a:schemeClr val="accent2"/>
                </a:solidFill>
                <a:effectLst/>
                <a:latin typeface="Poppins" panose="00000500000000000000" pitchFamily="2" charset="0"/>
                <a:ea typeface="Aptos" panose="020B0004020202020204" pitchFamily="34" charset="0"/>
                <a:cs typeface="Poppins" panose="00000500000000000000" pitchFamily="2" charset="0"/>
              </a:rPr>
              <a:t>EU27 chemical trade surplus bounced back to 2021 levels</a:t>
            </a:r>
            <a:endParaRPr lang="en-GB" sz="2600" b="0" dirty="0">
              <a:solidFill>
                <a:schemeClr val="accent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0BA94B9-D4B5-5DAB-214E-A75EC638DC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05126" y="941031"/>
            <a:ext cx="7663907" cy="5592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2426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89751" y="350420"/>
            <a:ext cx="11212497" cy="679390"/>
          </a:xfrm>
        </p:spPr>
        <p:txBody>
          <a:bodyPr>
            <a:noAutofit/>
          </a:bodyPr>
          <a:lstStyle/>
          <a:p>
            <a:r>
              <a:rPr lang="en-US" sz="2600" b="0" dirty="0">
                <a:solidFill>
                  <a:schemeClr val="accent2"/>
                </a:solidFill>
                <a:effectLst/>
                <a:latin typeface="Poppins" panose="00000500000000000000" pitchFamily="2" charset="0"/>
                <a:ea typeface="Aptos" panose="020B0004020202020204" pitchFamily="34" charset="0"/>
                <a:cs typeface="Poppins" panose="00000500000000000000" pitchFamily="2" charset="0"/>
              </a:rPr>
              <a:t>Petrochemicals dominates import &amp; specialty chemicals dominates export in 2023</a:t>
            </a:r>
            <a:endParaRPr lang="fr-BE" sz="2600" b="0" dirty="0">
              <a:solidFill>
                <a:schemeClr val="accent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55F2690-575A-50F2-D829-1BBB7FC131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37742" y="1029810"/>
            <a:ext cx="8239629" cy="5575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7316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856043" y="167256"/>
            <a:ext cx="10212593" cy="535478"/>
          </a:xfrm>
        </p:spPr>
        <p:txBody>
          <a:bodyPr>
            <a:noAutofit/>
          </a:bodyPr>
          <a:lstStyle/>
          <a:p>
            <a:r>
              <a:rPr lang="en-US" sz="2600" b="0" dirty="0">
                <a:solidFill>
                  <a:schemeClr val="accent2"/>
                </a:solidFill>
                <a:effectLst/>
                <a:latin typeface="Poppins" panose="00000500000000000000" pitchFamily="2" charset="0"/>
                <a:ea typeface="Aptos" panose="020B0004020202020204" pitchFamily="34" charset="0"/>
                <a:cs typeface="Poppins" panose="00000500000000000000" pitchFamily="2" charset="0"/>
              </a:rPr>
              <a:t>In 2023, US is the first export country for the EU27</a:t>
            </a:r>
            <a:endParaRPr lang="fr-BE" sz="2600" b="0" dirty="0">
              <a:solidFill>
                <a:schemeClr val="accent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AE47FDA-7AE6-016C-936C-165497840E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37349" y="909792"/>
            <a:ext cx="8019048" cy="578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0380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10214" y="305332"/>
            <a:ext cx="9378760" cy="680089"/>
          </a:xfrm>
        </p:spPr>
        <p:txBody>
          <a:bodyPr>
            <a:noAutofit/>
          </a:bodyPr>
          <a:lstStyle/>
          <a:p>
            <a:r>
              <a:rPr lang="en-US" sz="2600" b="0" dirty="0">
                <a:solidFill>
                  <a:schemeClr val="accent2"/>
                </a:solidFill>
                <a:effectLst/>
                <a:latin typeface="Poppins" panose="00000500000000000000" pitchFamily="2" charset="0"/>
                <a:ea typeface="Aptos" panose="020B0004020202020204" pitchFamily="34" charset="0"/>
                <a:cs typeface="Poppins" panose="00000500000000000000" pitchFamily="2" charset="0"/>
              </a:rPr>
              <a:t>In 2023, China is the first import country for the EU27</a:t>
            </a:r>
            <a:endParaRPr lang="fr-BE" sz="2600" b="0" dirty="0">
              <a:solidFill>
                <a:schemeClr val="accent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758C879-2888-4E04-956F-F7418CE884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35787" y="1009811"/>
            <a:ext cx="8209524" cy="5542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228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37449" y="190979"/>
            <a:ext cx="11584430" cy="668801"/>
          </a:xfrm>
        </p:spPr>
        <p:txBody>
          <a:bodyPr>
            <a:noAutofit/>
          </a:bodyPr>
          <a:lstStyle/>
          <a:p>
            <a:r>
              <a:rPr lang="en-US" sz="2600" b="0" dirty="0"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nsumer chemicals contribute most to EU27 chemical trade surplus</a:t>
            </a:r>
            <a:endParaRPr lang="fr-BE" sz="2600" b="0" dirty="0">
              <a:solidFill>
                <a:schemeClr val="accent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DDC0F04-EAD9-990F-77E9-B398C5E7DD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81842" y="1052622"/>
            <a:ext cx="8146679" cy="5614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3527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BE5972B-3F62-4368-8465-B31F86BB49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BE5972B-3F62-4368-8465-B31F86BB49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2911EBB-8E49-7730-0BE1-0D38B1F957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30446B-4C1B-488A-AF43-F715FC8527F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6974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69747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0256EB7-3272-D0F1-22AB-2DCDD789D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315" y="201016"/>
            <a:ext cx="10944225" cy="681182"/>
          </a:xfrm>
        </p:spPr>
        <p:txBody>
          <a:bodyPr>
            <a:normAutofit/>
          </a:bodyPr>
          <a:lstStyle/>
          <a:p>
            <a:r>
              <a:rPr lang="en-US" sz="2600" b="0" dirty="0"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hemicals accounts for 9.3% of EU27 manufacturing exports</a:t>
            </a:r>
            <a:endParaRPr lang="en-GB" sz="2600" b="0" dirty="0">
              <a:solidFill>
                <a:schemeClr val="accent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1C8FD89-EE1E-2BDC-048D-D2251254802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92077" y="1049482"/>
            <a:ext cx="7815179" cy="5607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667434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BE5972B-3F62-4368-8465-B31F86BB49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BE5972B-3F62-4368-8465-B31F86BB49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2911EBB-8E49-7730-0BE1-0D38B1F957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30446B-4C1B-488A-AF43-F715FC8527F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6974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69747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0256EB7-3272-D0F1-22AB-2DCDD789D5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198678"/>
            <a:ext cx="10944225" cy="681182"/>
          </a:xfrm>
        </p:spPr>
        <p:txBody>
          <a:bodyPr>
            <a:normAutofit/>
          </a:bodyPr>
          <a:lstStyle/>
          <a:p>
            <a:r>
              <a:rPr lang="en-US" sz="2600" b="0" dirty="0"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hemicals accounts for 9.9% of EU27 manufacturing imports</a:t>
            </a:r>
            <a:endParaRPr lang="en-GB" sz="2600" b="0" dirty="0">
              <a:solidFill>
                <a:schemeClr val="accent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024B66B-110D-0298-EDED-64C313566FB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62724" y="916335"/>
            <a:ext cx="8146550" cy="5840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258523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6E19AE-0A7B-4174-EF1E-1E1EF13D8B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7743" y="193031"/>
            <a:ext cx="11198735" cy="600072"/>
          </a:xfrm>
        </p:spPr>
        <p:txBody>
          <a:bodyPr>
            <a:noAutofit/>
          </a:bodyPr>
          <a:lstStyle/>
          <a:p>
            <a:br>
              <a:rPr lang="en-GB" sz="2600" b="0" dirty="0">
                <a:solidFill>
                  <a:schemeClr val="accent2"/>
                </a:solidFill>
                <a:effectLst/>
                <a:uFill>
                  <a:solidFill>
                    <a:srgbClr val="528F2A"/>
                  </a:solidFill>
                </a:uFill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</a:br>
            <a:r>
              <a:rPr lang="en-GB" sz="2600" b="0" dirty="0">
                <a:solidFill>
                  <a:schemeClr val="accent2"/>
                </a:solidFill>
                <a:effectLst/>
                <a:uFill>
                  <a:solidFill>
                    <a:srgbClr val="528F2A"/>
                  </a:solidFill>
                </a:uFill>
                <a:latin typeface="Poppins" panose="00000500000000000000" pitchFamily="2" charset="0"/>
                <a:ea typeface="Arial Unicode MS"/>
                <a:cs typeface="Poppins" panose="00000500000000000000" pitchFamily="2" charset="0"/>
              </a:rPr>
              <a:t>China continues to gain share in the global chemical export</a:t>
            </a:r>
            <a:endParaRPr lang="en-BE" sz="2600" b="0" dirty="0">
              <a:solidFill>
                <a:schemeClr val="accent2"/>
              </a:solidFill>
              <a:latin typeface="Poppins" panose="00000500000000000000" pitchFamily="2" charset="0"/>
              <a:ea typeface="Calibri" panose="020F0502020204030204" pitchFamily="34" charset="0"/>
              <a:cs typeface="Poppins" panose="00000500000000000000" pitchFamily="2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9CDFDDA-F0DF-066D-73C4-2C38935D74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7419" y="1388833"/>
            <a:ext cx="11668202" cy="4080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01591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77418E4-1C13-4BA5-9F99-F8304D2A21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54517" y="1350861"/>
            <a:ext cx="6253655" cy="2387600"/>
          </a:xfrm>
        </p:spPr>
        <p:txBody>
          <a:bodyPr>
            <a:normAutofit/>
          </a:bodyPr>
          <a:lstStyle/>
          <a:p>
            <a:r>
              <a:rPr lang="fr-BE" sz="3600" b="0" dirty="0"/>
              <a:t>1. Profile - key </a:t>
            </a:r>
            <a:r>
              <a:rPr lang="fr-BE" sz="3600" dirty="0"/>
              <a:t>figures </a:t>
            </a:r>
            <a:endParaRPr lang="en-US" sz="3600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A0269C9-074F-4983-8AFC-40E93D3463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900" dirty="0"/>
              <a:t>The European Chemical Industry Council, AISBL – Rue </a:t>
            </a:r>
            <a:r>
              <a:rPr lang="en-US" sz="900" dirty="0" err="1"/>
              <a:t>Belliard</a:t>
            </a:r>
            <a:r>
              <a:rPr lang="en-US" sz="900" dirty="0"/>
              <a:t>, 40 - 1040 Brussels – Belgium - </a:t>
            </a:r>
            <a:r>
              <a:rPr lang="fr-BE" sz="900" dirty="0" err="1"/>
              <a:t>Transparency</a:t>
            </a:r>
            <a:r>
              <a:rPr lang="fr-BE" sz="900" dirty="0"/>
              <a:t> </a:t>
            </a:r>
            <a:r>
              <a:rPr lang="fr-BE" sz="900" dirty="0" err="1"/>
              <a:t>Register</a:t>
            </a:r>
            <a:r>
              <a:rPr lang="fr-BE" sz="900" dirty="0"/>
              <a:t> n°64879142323-90</a:t>
            </a:r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5427EE7F-0DDB-4C71-8B1A-D5C44E3C15D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56922" y="-26124"/>
            <a:ext cx="3835078" cy="6879771"/>
          </a:xfrm>
        </p:spPr>
      </p:pic>
    </p:spTree>
    <p:extLst>
      <p:ext uri="{BB962C8B-B14F-4D97-AF65-F5344CB8AC3E}">
        <p14:creationId xmlns:p14="http://schemas.microsoft.com/office/powerpoint/2010/main" val="22852067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77418E4-1C13-4BA5-9F99-F8304D2A21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50134" y="1368279"/>
            <a:ext cx="7254240" cy="2387600"/>
          </a:xfrm>
        </p:spPr>
        <p:txBody>
          <a:bodyPr>
            <a:normAutofit/>
          </a:bodyPr>
          <a:lstStyle/>
          <a:p>
            <a:r>
              <a:rPr lang="fr-BE" sz="3600" dirty="0"/>
              <a:t>3. </a:t>
            </a:r>
            <a:r>
              <a:rPr lang="fr-BE" sz="3600" dirty="0" err="1"/>
              <a:t>Growth</a:t>
            </a:r>
            <a:r>
              <a:rPr lang="fr-BE" sz="3600" dirty="0"/>
              <a:t> and </a:t>
            </a:r>
            <a:r>
              <a:rPr lang="fr-BE" sz="3600" dirty="0" err="1"/>
              <a:t>Competitiveness</a:t>
            </a:r>
            <a:r>
              <a:rPr lang="fr-BE" sz="3600" dirty="0"/>
              <a:t> </a:t>
            </a:r>
            <a:endParaRPr lang="en-US" sz="3600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A0269C9-074F-4983-8AFC-40E93D3463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900" dirty="0"/>
              <a:t>The European Chemical Industry Council, AISBL – Rue </a:t>
            </a:r>
            <a:r>
              <a:rPr lang="en-US" sz="900" dirty="0" err="1"/>
              <a:t>Belliard</a:t>
            </a:r>
            <a:r>
              <a:rPr lang="en-US" sz="900" dirty="0"/>
              <a:t>, 40 - 1040 Brussels – Belgium - </a:t>
            </a:r>
            <a:r>
              <a:rPr lang="fr-BE" sz="900" dirty="0" err="1"/>
              <a:t>Transparency</a:t>
            </a:r>
            <a:r>
              <a:rPr lang="fr-BE" sz="900" dirty="0"/>
              <a:t> </a:t>
            </a:r>
            <a:r>
              <a:rPr lang="fr-BE" sz="900" dirty="0" err="1"/>
              <a:t>Register</a:t>
            </a:r>
            <a:r>
              <a:rPr lang="fr-BE" sz="900" dirty="0"/>
              <a:t> n°64879142323-90</a:t>
            </a:r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5427EE7F-0DDB-4C71-8B1A-D5C44E3C15D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56922" y="-43541"/>
            <a:ext cx="3835078" cy="6908133"/>
          </a:xfrm>
        </p:spPr>
      </p:pic>
    </p:spTree>
    <p:extLst>
      <p:ext uri="{BB962C8B-B14F-4D97-AF65-F5344CB8AC3E}">
        <p14:creationId xmlns:p14="http://schemas.microsoft.com/office/powerpoint/2010/main" val="31001376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42150" y="200262"/>
            <a:ext cx="12146800" cy="819381"/>
          </a:xfrm>
        </p:spPr>
        <p:txBody>
          <a:bodyPr>
            <a:noAutofit/>
          </a:bodyPr>
          <a:lstStyle/>
          <a:p>
            <a:r>
              <a:rPr lang="en-US" sz="2600" b="0" dirty="0">
                <a:solidFill>
                  <a:schemeClr val="accent2"/>
                </a:solidFill>
                <a:effectLst/>
                <a:latin typeface="Poppins" panose="00000500000000000000" pitchFamily="2" charset="0"/>
                <a:ea typeface="Aptos" panose="020B0004020202020204" pitchFamily="34" charset="0"/>
                <a:cs typeface="Poppins" panose="00000500000000000000" pitchFamily="2" charset="0"/>
              </a:rPr>
              <a:t>EU27 chemicals output, above the previous year’s level, yet below average</a:t>
            </a:r>
            <a:endParaRPr lang="en-GB" sz="2600" b="0" dirty="0">
              <a:solidFill>
                <a:schemeClr val="accent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47FA717-C77A-6437-D9AA-E9AF54AE7D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75445" y="1019643"/>
            <a:ext cx="8342857" cy="5638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590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99240" y="203537"/>
            <a:ext cx="12337798" cy="544355"/>
          </a:xfrm>
        </p:spPr>
        <p:txBody>
          <a:bodyPr>
            <a:noAutofit/>
          </a:bodyPr>
          <a:lstStyle/>
          <a:p>
            <a:r>
              <a:rPr lang="en-US" sz="2600" b="0" dirty="0">
                <a:solidFill>
                  <a:schemeClr val="accent2"/>
                </a:solidFill>
                <a:effectLst/>
                <a:latin typeface="Poppins" panose="00000500000000000000" pitchFamily="2" charset="0"/>
                <a:ea typeface="Aptos" panose="020B0004020202020204" pitchFamily="34" charset="0"/>
                <a:cs typeface="Poppins" panose="00000500000000000000" pitchFamily="2" charset="0"/>
              </a:rPr>
              <a:t>EU27 chemical capacity utilization remains below its long-term average</a:t>
            </a:r>
            <a:endParaRPr lang="en-GB" sz="2600" b="0" dirty="0">
              <a:solidFill>
                <a:schemeClr val="accent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D183CAA-055A-F8F6-1B59-7751A21C21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85950" y="976420"/>
            <a:ext cx="8266667" cy="5266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3706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/>
        </p:nvSpPr>
        <p:spPr>
          <a:xfrm>
            <a:off x="8215843" y="5326592"/>
            <a:ext cx="397933" cy="262466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Title 6"/>
          <p:cNvSpPr txBox="1">
            <a:spLocks/>
          </p:cNvSpPr>
          <p:nvPr/>
        </p:nvSpPr>
        <p:spPr bwMode="gray">
          <a:xfrm>
            <a:off x="399493" y="306525"/>
            <a:ext cx="11192737" cy="61655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600" dirty="0">
                <a:solidFill>
                  <a:schemeClr val="accent2"/>
                </a:solidFill>
                <a:effectLst/>
                <a:latin typeface="Poppins" panose="00000500000000000000" pitchFamily="2" charset="0"/>
                <a:ea typeface="Aptos" panose="020B0004020202020204" pitchFamily="34" charset="0"/>
                <a:cs typeface="Poppins" panose="00000500000000000000" pitchFamily="2" charset="0"/>
              </a:rPr>
              <a:t>Europe is at a cost disadvantage compared to North America and Middle East</a:t>
            </a:r>
            <a:endParaRPr lang="en-US" sz="2600" dirty="0">
              <a:solidFill>
                <a:schemeClr val="accent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endParaRPr lang="fr-BE" sz="34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AEFFDEA-BCC8-688C-353A-387AB8FD91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10990" y="1024393"/>
            <a:ext cx="7636777" cy="5626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7430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27598" y="144393"/>
            <a:ext cx="10796076" cy="720520"/>
          </a:xfrm>
        </p:spPr>
        <p:txBody>
          <a:bodyPr>
            <a:noAutofit/>
          </a:bodyPr>
          <a:lstStyle/>
          <a:p>
            <a:r>
              <a:rPr lang="en-US" sz="2600" b="0" dirty="0"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hina grows faster than the EU27 and US</a:t>
            </a:r>
            <a:endParaRPr lang="fr-BE" sz="2600" b="0" dirty="0">
              <a:solidFill>
                <a:schemeClr val="accent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678AFAC-9B9F-2FDD-7FD8-C19D8ECB09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92488" y="978779"/>
            <a:ext cx="8924448" cy="5652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6106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77418E4-1C13-4BA5-9F99-F8304D2A21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72949" y="1333448"/>
            <a:ext cx="6914604" cy="2387600"/>
          </a:xfrm>
        </p:spPr>
        <p:txBody>
          <a:bodyPr>
            <a:normAutofit/>
          </a:bodyPr>
          <a:lstStyle/>
          <a:p>
            <a:r>
              <a:rPr lang="fr-BE" sz="3600" dirty="0"/>
              <a:t>4. Our contribution to EU </a:t>
            </a:r>
            <a:r>
              <a:rPr lang="fr-BE" sz="3600" dirty="0" err="1"/>
              <a:t>industry</a:t>
            </a:r>
            <a:r>
              <a:rPr lang="fr-BE" sz="3600" dirty="0"/>
              <a:t> </a:t>
            </a:r>
            <a:endParaRPr lang="en-US" sz="3600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A0269C9-074F-4983-8AFC-40E93D3463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900" dirty="0"/>
              <a:t>The European Chemical Industry Council, AISBL – Rue </a:t>
            </a:r>
            <a:r>
              <a:rPr lang="en-US" sz="900" dirty="0" err="1"/>
              <a:t>Belliard</a:t>
            </a:r>
            <a:r>
              <a:rPr lang="en-US" sz="900" dirty="0"/>
              <a:t>, 40 - 1040 Brussels – Belgium - </a:t>
            </a:r>
            <a:r>
              <a:rPr lang="fr-BE" sz="900" dirty="0" err="1"/>
              <a:t>Transparency</a:t>
            </a:r>
            <a:r>
              <a:rPr lang="fr-BE" sz="900" dirty="0"/>
              <a:t> </a:t>
            </a:r>
            <a:r>
              <a:rPr lang="fr-BE" sz="900" dirty="0" err="1"/>
              <a:t>Register</a:t>
            </a:r>
            <a:r>
              <a:rPr lang="fr-BE" sz="900" dirty="0"/>
              <a:t> n°64879142323-90</a:t>
            </a:r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5427EE7F-0DDB-4C71-8B1A-D5C44E3C15D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56922" y="-34833"/>
            <a:ext cx="3835078" cy="6907780"/>
          </a:xfrm>
        </p:spPr>
      </p:pic>
    </p:spTree>
    <p:extLst>
      <p:ext uri="{BB962C8B-B14F-4D97-AF65-F5344CB8AC3E}">
        <p14:creationId xmlns:p14="http://schemas.microsoft.com/office/powerpoint/2010/main" val="353433170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Title 4"/>
          <p:cNvSpPr>
            <a:spLocks noGrp="1"/>
          </p:cNvSpPr>
          <p:nvPr>
            <p:ph type="title"/>
          </p:nvPr>
        </p:nvSpPr>
        <p:spPr>
          <a:xfrm>
            <a:off x="246710" y="165328"/>
            <a:ext cx="11890644" cy="741513"/>
          </a:xfrm>
        </p:spPr>
        <p:txBody>
          <a:bodyPr>
            <a:noAutofit/>
          </a:bodyPr>
          <a:lstStyle/>
          <a:p>
            <a:r>
              <a:rPr lang="en-US" sz="2600" b="0" dirty="0"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op 10 sectors account for 70% of total EU27 manufacturing enterpris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8D8743C-616F-B508-9474-D22BCF9DD5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40158" y="1016742"/>
            <a:ext cx="7380195" cy="5537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3220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A733BF-2020-DB2D-D701-8A85F5AB89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727" y="219835"/>
            <a:ext cx="11917273" cy="664536"/>
          </a:xfrm>
        </p:spPr>
        <p:txBody>
          <a:bodyPr>
            <a:normAutofit/>
          </a:bodyPr>
          <a:lstStyle/>
          <a:p>
            <a:r>
              <a:rPr lang="en-US" sz="2600" b="0" dirty="0"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nsumer chemicals has the highest number of chemicals enterprises </a:t>
            </a:r>
            <a:endParaRPr lang="en-GB" sz="2600" b="0" dirty="0">
              <a:solidFill>
                <a:schemeClr val="accent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E1D94B0-B990-C8E0-A132-001AF2A105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50957" y="1307803"/>
            <a:ext cx="6257069" cy="5330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9952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/>
          <p:cNvSpPr>
            <a:spLocks noGrp="1"/>
          </p:cNvSpPr>
          <p:nvPr>
            <p:ph type="title"/>
          </p:nvPr>
        </p:nvSpPr>
        <p:spPr>
          <a:xfrm>
            <a:off x="244930" y="258265"/>
            <a:ext cx="11947070" cy="562497"/>
          </a:xfrm>
        </p:spPr>
        <p:txBody>
          <a:bodyPr>
            <a:noAutofit/>
          </a:bodyPr>
          <a:lstStyle/>
          <a:p>
            <a:r>
              <a:rPr lang="en-US" sz="2600" b="0" dirty="0">
                <a:solidFill>
                  <a:schemeClr val="accent2"/>
                </a:solidFill>
                <a:effectLst/>
                <a:latin typeface="Poppins" panose="00000500000000000000" pitchFamily="2" charset="0"/>
                <a:ea typeface="Aptos" panose="020B0004020202020204" pitchFamily="34" charset="0"/>
                <a:cs typeface="Poppins" panose="00000500000000000000" pitchFamily="2" charset="0"/>
              </a:rPr>
              <a:t>Chemicals is the fourth-largest EU27 manufacturing sector</a:t>
            </a:r>
            <a:endParaRPr lang="en-GB" sz="2600" b="0" dirty="0">
              <a:solidFill>
                <a:schemeClr val="accent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B7CEA75-CFDB-4009-9737-7E53202C23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85262" y="1046660"/>
            <a:ext cx="7423976" cy="5553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6988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4"/>
          <p:cNvSpPr>
            <a:spLocks noGrp="1"/>
          </p:cNvSpPr>
          <p:nvPr>
            <p:ph type="title"/>
          </p:nvPr>
        </p:nvSpPr>
        <p:spPr>
          <a:xfrm>
            <a:off x="568170" y="305264"/>
            <a:ext cx="10342486" cy="576085"/>
          </a:xfrm>
        </p:spPr>
        <p:txBody>
          <a:bodyPr>
            <a:noAutofit/>
          </a:bodyPr>
          <a:lstStyle/>
          <a:p>
            <a:r>
              <a:rPr lang="en-GB" sz="2600" b="0" dirty="0"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hemicals* is the leading sector in terms of added valu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94E8930-320C-BA69-30CD-5D6287C29F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96600" y="1015825"/>
            <a:ext cx="7405867" cy="5536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349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01998" y="85066"/>
            <a:ext cx="11215081" cy="654958"/>
          </a:xfrm>
        </p:spPr>
        <p:txBody>
          <a:bodyPr>
            <a:noAutofit/>
          </a:bodyPr>
          <a:lstStyle/>
          <a:p>
            <a:r>
              <a:rPr lang="en-US" sz="2600" b="0" dirty="0"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urope is the second-largest chemical producer in the world</a:t>
            </a:r>
            <a:endParaRPr lang="fr-BE" sz="2600" b="0" dirty="0">
              <a:solidFill>
                <a:schemeClr val="accent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BAD682B-4258-B882-EC79-1A866193A7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72279" y="908033"/>
            <a:ext cx="8819048" cy="5790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193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4">
            <a:extLst>
              <a:ext uri="{FF2B5EF4-FFF2-40B4-BE49-F238E27FC236}">
                <a16:creationId xmlns:a16="http://schemas.microsoft.com/office/drawing/2014/main" id="{9A422980-625F-BA23-4801-1CF91D5E65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253" y="95941"/>
            <a:ext cx="11712435" cy="798794"/>
          </a:xfrm>
        </p:spPr>
        <p:txBody>
          <a:bodyPr>
            <a:noAutofit/>
          </a:bodyPr>
          <a:lstStyle/>
          <a:p>
            <a:r>
              <a:rPr lang="en-GB" sz="2600" b="0" dirty="0"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etrochemicals </a:t>
            </a:r>
            <a:r>
              <a:rPr lang="en-US" sz="2600" b="0" dirty="0"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has the highest added value in EU27 chemicals sector </a:t>
            </a:r>
            <a:endParaRPr lang="en-GB" sz="2600" b="0" dirty="0">
              <a:solidFill>
                <a:schemeClr val="accent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9E85786-0CFC-3EE7-6DF7-1BAD643B376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0107" y="1019539"/>
            <a:ext cx="7631785" cy="5742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8901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Title 4"/>
          <p:cNvSpPr>
            <a:spLocks noGrp="1"/>
          </p:cNvSpPr>
          <p:nvPr>
            <p:ph type="title"/>
          </p:nvPr>
        </p:nvSpPr>
        <p:spPr>
          <a:xfrm>
            <a:off x="671744" y="245527"/>
            <a:ext cx="10913615" cy="562342"/>
          </a:xfrm>
        </p:spPr>
        <p:txBody>
          <a:bodyPr>
            <a:noAutofit/>
          </a:bodyPr>
          <a:lstStyle/>
          <a:p>
            <a:r>
              <a:rPr lang="en-GB" sz="2600" b="0" dirty="0"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hemicals* contributes 12% of EU27 manufacturing employment</a:t>
            </a:r>
            <a:endParaRPr lang="en-US" sz="2600" b="0" dirty="0">
              <a:solidFill>
                <a:schemeClr val="accent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F2C931F-8FD5-7A17-942A-BD9E36C707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75332" y="886889"/>
            <a:ext cx="7706437" cy="5868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3818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Title 4"/>
          <p:cNvSpPr>
            <a:spLocks noGrp="1"/>
          </p:cNvSpPr>
          <p:nvPr>
            <p:ph type="title"/>
          </p:nvPr>
        </p:nvSpPr>
        <p:spPr>
          <a:xfrm>
            <a:off x="541539" y="302041"/>
            <a:ext cx="11327906" cy="603482"/>
          </a:xfrm>
        </p:spPr>
        <p:txBody>
          <a:bodyPr>
            <a:noAutofit/>
          </a:bodyPr>
          <a:lstStyle/>
          <a:p>
            <a:r>
              <a:rPr lang="en-US" sz="2600" b="0" dirty="0"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nsumer chemicals is the largest employer in the EU27 chemicals sector</a:t>
            </a:r>
            <a:endParaRPr lang="en-GB" sz="2600" b="0" dirty="0">
              <a:solidFill>
                <a:schemeClr val="accent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923272D-8B18-5A7D-8FF0-732963FFB1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57782" y="905523"/>
            <a:ext cx="6727448" cy="5855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9974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79474" y="343411"/>
            <a:ext cx="9283615" cy="579867"/>
          </a:xfrm>
        </p:spPr>
        <p:txBody>
          <a:bodyPr>
            <a:normAutofit/>
          </a:bodyPr>
          <a:lstStyle/>
          <a:p>
            <a:r>
              <a:rPr lang="en-GB" sz="2600" b="0" dirty="0"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U27 Labour productivity declines at 1.0%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959D544-B633-7CD3-A68D-711AFAE52E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95999" y="1171732"/>
            <a:ext cx="7866309" cy="5530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3533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Title 4"/>
          <p:cNvSpPr>
            <a:spLocks noGrp="1"/>
          </p:cNvSpPr>
          <p:nvPr>
            <p:ph type="title"/>
          </p:nvPr>
        </p:nvSpPr>
        <p:spPr>
          <a:xfrm>
            <a:off x="714989" y="203190"/>
            <a:ext cx="10608685" cy="618725"/>
          </a:xfrm>
        </p:spPr>
        <p:txBody>
          <a:bodyPr>
            <a:noAutofit/>
          </a:bodyPr>
          <a:lstStyle/>
          <a:p>
            <a:r>
              <a:rPr lang="en-GB" sz="2600" b="0" dirty="0"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hemicals* is the largest investor in EU27 manufacturing sector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0F73C9B-D393-672A-5254-56827EA68C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67778" y="933900"/>
            <a:ext cx="7888077" cy="5720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6274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Title 4"/>
          <p:cNvSpPr>
            <a:spLocks noGrp="1"/>
          </p:cNvSpPr>
          <p:nvPr>
            <p:ph type="title"/>
          </p:nvPr>
        </p:nvSpPr>
        <p:spPr>
          <a:xfrm>
            <a:off x="541539" y="302041"/>
            <a:ext cx="11327906" cy="603482"/>
          </a:xfrm>
        </p:spPr>
        <p:txBody>
          <a:bodyPr>
            <a:normAutofit/>
          </a:bodyPr>
          <a:lstStyle/>
          <a:p>
            <a:r>
              <a:rPr lang="en-GB" sz="2600" b="0" dirty="0"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etrochemicals is the largest investor in the EU27 chemicals sector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C391D90-EEA9-F82E-99A6-08E6D97362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53917" y="905523"/>
            <a:ext cx="6945141" cy="5552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724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77418E4-1C13-4BA5-9F99-F8304D2A21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02383" y="1385688"/>
            <a:ext cx="6261452" cy="2387600"/>
          </a:xfrm>
        </p:spPr>
        <p:txBody>
          <a:bodyPr>
            <a:normAutofit/>
          </a:bodyPr>
          <a:lstStyle/>
          <a:p>
            <a:r>
              <a:rPr lang="fr-BE" sz="3600" dirty="0"/>
              <a:t>5. Energy </a:t>
            </a:r>
            <a:r>
              <a:rPr lang="fr-BE" sz="3600" dirty="0" err="1"/>
              <a:t>Consumption</a:t>
            </a:r>
            <a:r>
              <a:rPr lang="fr-BE" sz="3600" dirty="0"/>
              <a:t> </a:t>
            </a:r>
            <a:endParaRPr lang="en-US" sz="3600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A0269C9-074F-4983-8AFC-40E93D3463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900" dirty="0"/>
              <a:t>The European Chemical Industry Council, AISBL – Rue </a:t>
            </a:r>
            <a:r>
              <a:rPr lang="en-US" sz="900" dirty="0" err="1"/>
              <a:t>Belliard</a:t>
            </a:r>
            <a:r>
              <a:rPr lang="en-US" sz="900" dirty="0"/>
              <a:t>, 40 - 1040 Brussels – Belgium - </a:t>
            </a:r>
            <a:r>
              <a:rPr lang="fr-BE" sz="900" dirty="0" err="1"/>
              <a:t>Transparency</a:t>
            </a:r>
            <a:r>
              <a:rPr lang="fr-BE" sz="900" dirty="0"/>
              <a:t> </a:t>
            </a:r>
            <a:r>
              <a:rPr lang="fr-BE" sz="900" dirty="0" err="1"/>
              <a:t>Register</a:t>
            </a:r>
            <a:r>
              <a:rPr lang="fr-BE" sz="900" dirty="0"/>
              <a:t> n°64879142323-90</a:t>
            </a:r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5427EE7F-0DDB-4C71-8B1A-D5C44E3C15D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56922" y="-34833"/>
            <a:ext cx="3835078" cy="6899045"/>
          </a:xfrm>
        </p:spPr>
      </p:pic>
    </p:spTree>
    <p:extLst>
      <p:ext uri="{BB962C8B-B14F-4D97-AF65-F5344CB8AC3E}">
        <p14:creationId xmlns:p14="http://schemas.microsoft.com/office/powerpoint/2010/main" val="55989754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1794" y="148856"/>
            <a:ext cx="11425527" cy="853679"/>
          </a:xfrm>
        </p:spPr>
        <p:txBody>
          <a:bodyPr>
            <a:noAutofit/>
          </a:bodyPr>
          <a:lstStyle/>
          <a:p>
            <a:r>
              <a:rPr lang="en-US" sz="2600" b="0" dirty="0"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U27 gas and electricity account for two thirds of total energy consumption</a:t>
            </a:r>
            <a:endParaRPr lang="en-GB" sz="2600" b="0" dirty="0">
              <a:solidFill>
                <a:schemeClr val="accent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7353294-05F2-242B-EEF7-2ED70693CF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72354" y="1002535"/>
            <a:ext cx="7344405" cy="5608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286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3641" y="378923"/>
            <a:ext cx="10212593" cy="535478"/>
          </a:xfrm>
        </p:spPr>
        <p:txBody>
          <a:bodyPr>
            <a:noAutofit/>
          </a:bodyPr>
          <a:lstStyle/>
          <a:p>
            <a:r>
              <a:rPr lang="en-GB" sz="2600" b="0" dirty="0"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U27 energy consumption falls 30% since 1990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75C7A7C-4620-B963-1BB6-7C2F101EF9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12631" y="1063256"/>
            <a:ext cx="8430559" cy="5600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8810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1498" y="201369"/>
            <a:ext cx="10212593" cy="650887"/>
          </a:xfrm>
        </p:spPr>
        <p:txBody>
          <a:bodyPr>
            <a:normAutofit/>
          </a:bodyPr>
          <a:lstStyle/>
          <a:p>
            <a:r>
              <a:rPr lang="en-GB" sz="2600" b="0" dirty="0"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U27 gas consumption falls 41% since 1990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56E0FEA-F801-6DC1-AD3D-FA9DE9C6C1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91238" y="1074004"/>
            <a:ext cx="8209524" cy="5390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6576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05540" y="270945"/>
            <a:ext cx="10962683" cy="579660"/>
          </a:xfrm>
        </p:spPr>
        <p:txBody>
          <a:bodyPr>
            <a:noAutofit/>
          </a:bodyPr>
          <a:lstStyle/>
          <a:p>
            <a:r>
              <a:rPr lang="en-US" sz="2600" b="0" dirty="0">
                <a:solidFill>
                  <a:schemeClr val="accent2"/>
                </a:solidFill>
                <a:effectLst/>
                <a:latin typeface="Poppins" panose="00000500000000000000" pitchFamily="2" charset="0"/>
                <a:ea typeface="Times New Roman" panose="02020603050405020304" pitchFamily="18" charset="0"/>
                <a:cs typeface="Poppins" panose="00000500000000000000" pitchFamily="2" charset="0"/>
              </a:rPr>
              <a:t>EU27 market share dropped significantly in 10 years</a:t>
            </a:r>
            <a:endParaRPr lang="fr-BE" sz="2600" b="0" dirty="0">
              <a:solidFill>
                <a:schemeClr val="accent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9129647-A537-7B08-03C9-F118B15C33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27993" y="987055"/>
            <a:ext cx="7971428" cy="56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321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4131" y="205188"/>
            <a:ext cx="10212593" cy="579866"/>
          </a:xfrm>
        </p:spPr>
        <p:txBody>
          <a:bodyPr>
            <a:noAutofit/>
          </a:bodyPr>
          <a:lstStyle/>
          <a:p>
            <a:r>
              <a:rPr lang="en-GB" sz="2600" b="0" dirty="0"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U27 electrical energy consumption falls 18% since 1990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5BDAF01-1A1C-88B6-71F4-135CAD0B3A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19809" y="998467"/>
            <a:ext cx="8712749" cy="5603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7530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0274" y="378922"/>
            <a:ext cx="10212593" cy="544355"/>
          </a:xfrm>
        </p:spPr>
        <p:txBody>
          <a:bodyPr>
            <a:noAutofit/>
          </a:bodyPr>
          <a:lstStyle/>
          <a:p>
            <a:r>
              <a:rPr lang="en-GB" sz="2600" b="0" dirty="0"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U27 Total petroleum consumption falls 22% since 1990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0E7E75-AD1A-48AF-3A96-02A690CAEB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72190" y="1060030"/>
            <a:ext cx="8247619" cy="5419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5755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555" y="302843"/>
            <a:ext cx="10212593" cy="553233"/>
          </a:xfrm>
        </p:spPr>
        <p:txBody>
          <a:bodyPr>
            <a:noAutofit/>
          </a:bodyPr>
          <a:lstStyle/>
          <a:p>
            <a:r>
              <a:rPr lang="en-GB" sz="2600" b="0" dirty="0"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U27 solid fuels consumption falls 71% since 1990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57FD22B-5546-BE69-D846-CAB07BD59E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00691" y="1013861"/>
            <a:ext cx="8503871" cy="5541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7978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9280" y="262615"/>
            <a:ext cx="11772720" cy="694315"/>
          </a:xfrm>
        </p:spPr>
        <p:txBody>
          <a:bodyPr>
            <a:noAutofit/>
          </a:bodyPr>
          <a:lstStyle/>
          <a:p>
            <a:r>
              <a:rPr lang="en-US" sz="2600" b="0" dirty="0"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U27 Renewable energies consumption more than tripled since 2000</a:t>
            </a:r>
            <a:endParaRPr lang="en-GB" sz="2600" b="0" dirty="0">
              <a:solidFill>
                <a:schemeClr val="accent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3D043E9-1787-6F3F-DADC-ADD9580BBB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75645" y="1051629"/>
            <a:ext cx="8580952" cy="537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50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3109" y="155131"/>
            <a:ext cx="10830758" cy="557250"/>
          </a:xfrm>
        </p:spPr>
        <p:txBody>
          <a:bodyPr>
            <a:noAutofit/>
          </a:bodyPr>
          <a:lstStyle/>
          <a:p>
            <a:r>
              <a:rPr lang="en-US" sz="2600" b="0" dirty="0"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U27 specific energy consumption* dropped by 51% since 1990</a:t>
            </a:r>
            <a:endParaRPr lang="en-GB" sz="2600" b="0" dirty="0">
              <a:solidFill>
                <a:schemeClr val="accent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AFBA67D-73E7-28E5-8AAE-45E0E00D8B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72376" y="712381"/>
            <a:ext cx="8066976" cy="5872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7864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633" y="231424"/>
            <a:ext cx="11640245" cy="615377"/>
          </a:xfrm>
        </p:spPr>
        <p:txBody>
          <a:bodyPr>
            <a:noAutofit/>
          </a:bodyPr>
          <a:lstStyle/>
          <a:p>
            <a:r>
              <a:rPr lang="en-GB" sz="2600" b="0" dirty="0"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U27 chemicals performance* is slightly higher than overall industry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BC86A0D-37D0-2661-1BD0-8872AF9B95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12234" y="846801"/>
            <a:ext cx="7599329" cy="5509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0458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77418E4-1C13-4BA5-9F99-F8304D2A21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67551" y="1342146"/>
            <a:ext cx="5617028" cy="2387600"/>
          </a:xfrm>
        </p:spPr>
        <p:txBody>
          <a:bodyPr>
            <a:normAutofit/>
          </a:bodyPr>
          <a:lstStyle/>
          <a:p>
            <a:r>
              <a:rPr lang="fr-BE" sz="3600" dirty="0"/>
              <a:t>6. Capital and R&amp;I </a:t>
            </a:r>
            <a:r>
              <a:rPr lang="fr-BE" sz="3600" dirty="0" err="1"/>
              <a:t>Spending</a:t>
            </a:r>
            <a:r>
              <a:rPr lang="fr-BE" sz="3600" dirty="0"/>
              <a:t> </a:t>
            </a:r>
            <a:endParaRPr lang="en-US" sz="3600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A0269C9-074F-4983-8AFC-40E93D3463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900" dirty="0"/>
              <a:t>The European Chemical Industry Council, AISBL – Rue </a:t>
            </a:r>
            <a:r>
              <a:rPr lang="en-US" sz="900" dirty="0" err="1"/>
              <a:t>Belliard</a:t>
            </a:r>
            <a:r>
              <a:rPr lang="en-US" sz="900" dirty="0"/>
              <a:t>, 40 - 1040 Brussels – Belgium - </a:t>
            </a:r>
            <a:r>
              <a:rPr lang="fr-BE" sz="900" dirty="0" err="1"/>
              <a:t>Transparency</a:t>
            </a:r>
            <a:r>
              <a:rPr lang="fr-BE" sz="900" dirty="0"/>
              <a:t> </a:t>
            </a:r>
            <a:r>
              <a:rPr lang="fr-BE" sz="900" dirty="0" err="1"/>
              <a:t>Register</a:t>
            </a:r>
            <a:r>
              <a:rPr lang="fr-BE" sz="900" dirty="0"/>
              <a:t> n°64879142323-90</a:t>
            </a:r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5427EE7F-0DDB-4C71-8B1A-D5C44E3C15D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56922" y="-52250"/>
            <a:ext cx="3835078" cy="6925044"/>
          </a:xfrm>
        </p:spPr>
      </p:pic>
    </p:spTree>
    <p:extLst>
      <p:ext uri="{BB962C8B-B14F-4D97-AF65-F5344CB8AC3E}">
        <p14:creationId xmlns:p14="http://schemas.microsoft.com/office/powerpoint/2010/main" val="281046907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2660" y="352289"/>
            <a:ext cx="11381173" cy="482212"/>
          </a:xfrm>
        </p:spPr>
        <p:txBody>
          <a:bodyPr>
            <a:noAutofit/>
          </a:bodyPr>
          <a:lstStyle/>
          <a:p>
            <a:r>
              <a:rPr lang="en-US" sz="2600" b="0" dirty="0"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U27 capital spending increased in 2023 vs 2022</a:t>
            </a:r>
            <a:endParaRPr lang="en-GB" sz="2600" b="0" dirty="0">
              <a:solidFill>
                <a:schemeClr val="accent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9FA1778-83D2-72D7-662D-F8D275B235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51817" y="834501"/>
            <a:ext cx="8542857" cy="5714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2958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7165" y="206943"/>
            <a:ext cx="7814534" cy="562111"/>
          </a:xfrm>
        </p:spPr>
        <p:txBody>
          <a:bodyPr>
            <a:noAutofit/>
          </a:bodyPr>
          <a:lstStyle/>
          <a:p>
            <a:r>
              <a:rPr lang="en-US" sz="2600" b="0" dirty="0">
                <a:solidFill>
                  <a:schemeClr val="accent2"/>
                </a:solidFill>
                <a:effectLst/>
                <a:latin typeface="Poppins" panose="00000500000000000000" pitchFamily="2" charset="0"/>
                <a:ea typeface="Aptos" panose="020B0004020202020204" pitchFamily="34" charset="0"/>
                <a:cs typeface="Poppins" panose="00000500000000000000" pitchFamily="2" charset="0"/>
              </a:rPr>
              <a:t>China leads global chemicals investments</a:t>
            </a:r>
            <a:endParaRPr lang="en-GB" sz="2600" b="0" dirty="0">
              <a:solidFill>
                <a:schemeClr val="accent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4370C3-B7B1-D6AA-B6BF-00B2D2745F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40805" y="905619"/>
            <a:ext cx="8752381" cy="5952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970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Title 4"/>
          <p:cNvSpPr>
            <a:spLocks noGrp="1"/>
          </p:cNvSpPr>
          <p:nvPr>
            <p:ph type="title"/>
          </p:nvPr>
        </p:nvSpPr>
        <p:spPr>
          <a:xfrm>
            <a:off x="683581" y="319796"/>
            <a:ext cx="11354540" cy="541337"/>
          </a:xfrm>
        </p:spPr>
        <p:txBody>
          <a:bodyPr>
            <a:noAutofit/>
          </a:bodyPr>
          <a:lstStyle/>
          <a:p>
            <a:r>
              <a:rPr lang="en-GB" sz="2600" b="0" dirty="0"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Hight capital intensity in the EU27 chemical secto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ACC5A0A-9023-EFC0-754F-531477E8D6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97842" y="861133"/>
            <a:ext cx="8123107" cy="5827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253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0523CD-C81A-5D3F-9166-0EB0F2E83E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53E02AA7-4754-9BE5-83E2-C6399EF9B6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540" y="270945"/>
            <a:ext cx="11586459" cy="888004"/>
          </a:xfrm>
        </p:spPr>
        <p:txBody>
          <a:bodyPr>
            <a:noAutofit/>
          </a:bodyPr>
          <a:lstStyle/>
          <a:p>
            <a:r>
              <a:rPr lang="en-US" sz="2600" b="0" dirty="0">
                <a:solidFill>
                  <a:schemeClr val="accent2"/>
                </a:solidFill>
                <a:effectLst/>
                <a:latin typeface="Poppins" panose="00000500000000000000" pitchFamily="2" charset="0"/>
                <a:ea typeface="Times New Roman" panose="02020603050405020304" pitchFamily="18" charset="0"/>
                <a:cs typeface="Poppins" panose="00000500000000000000" pitchFamily="2" charset="0"/>
              </a:rPr>
              <a:t>Over 20 years, the EU27 </a:t>
            </a:r>
            <a:r>
              <a:rPr lang="en-US" sz="2600" b="0" dirty="0">
                <a:solidFill>
                  <a:schemeClr val="accent2"/>
                </a:solidFill>
                <a:latin typeface="Poppins" panose="00000500000000000000" pitchFamily="2" charset="0"/>
                <a:ea typeface="Times New Roman" panose="02020603050405020304" pitchFamily="18" charset="0"/>
                <a:cs typeface="Poppins" panose="00000500000000000000" pitchFamily="2" charset="0"/>
              </a:rPr>
              <a:t>share of global </a:t>
            </a:r>
            <a:r>
              <a:rPr lang="en-US" sz="2600" b="0" dirty="0">
                <a:solidFill>
                  <a:schemeClr val="accent2"/>
                </a:solidFill>
                <a:effectLst/>
                <a:latin typeface="Poppins" panose="00000500000000000000" pitchFamily="2" charset="0"/>
                <a:ea typeface="Times New Roman" panose="02020603050405020304" pitchFamily="18" charset="0"/>
                <a:cs typeface="Poppins" panose="00000500000000000000" pitchFamily="2" charset="0"/>
              </a:rPr>
              <a:t>chemical market dropped sharply</a:t>
            </a:r>
            <a:endParaRPr lang="fr-BE" sz="2600" b="0" dirty="0">
              <a:solidFill>
                <a:schemeClr val="accent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2A7B4E0-196E-D46B-109B-B77B192C74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05524" y="1158949"/>
            <a:ext cx="8380952" cy="5590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8217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603" y="396677"/>
            <a:ext cx="9978500" cy="535478"/>
          </a:xfrm>
        </p:spPr>
        <p:txBody>
          <a:bodyPr>
            <a:noAutofit/>
          </a:bodyPr>
          <a:lstStyle/>
          <a:p>
            <a:r>
              <a:rPr lang="en-US" sz="2600" b="0" dirty="0"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uropean capital intensity below China</a:t>
            </a:r>
            <a:endParaRPr lang="en-GB" sz="2600" b="0" dirty="0">
              <a:solidFill>
                <a:schemeClr val="accent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65418A4-03ED-8B2F-33B7-F55D64A3C6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78137" y="1011292"/>
            <a:ext cx="8254966" cy="565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2291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296" y="244585"/>
            <a:ext cx="11310150" cy="677520"/>
          </a:xfrm>
        </p:spPr>
        <p:txBody>
          <a:bodyPr>
            <a:noAutofit/>
          </a:bodyPr>
          <a:lstStyle/>
          <a:p>
            <a:r>
              <a:rPr lang="en-US" sz="2600" b="0" dirty="0">
                <a:solidFill>
                  <a:schemeClr val="accent2"/>
                </a:solidFill>
                <a:effectLst/>
                <a:latin typeface="Poppins" panose="00000500000000000000" pitchFamily="2" charset="0"/>
                <a:ea typeface="Aptos" panose="020B0004020202020204" pitchFamily="34" charset="0"/>
                <a:cs typeface="Poppins" panose="00000500000000000000" pitchFamily="2" charset="0"/>
              </a:rPr>
              <a:t>EU27 loses more than 50% of its investment market share vs 2003</a:t>
            </a:r>
            <a:endParaRPr lang="en-GB" sz="2600" b="0" dirty="0">
              <a:solidFill>
                <a:schemeClr val="accent2"/>
              </a:solidFill>
              <a:highlight>
                <a:srgbClr val="FFFF00"/>
              </a:highlight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088C343-59C7-7DB0-435E-87D790BF04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36569" y="1007008"/>
            <a:ext cx="8314286" cy="5590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4730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65119" y="94516"/>
            <a:ext cx="10736409" cy="739664"/>
          </a:xfrm>
        </p:spPr>
        <p:txBody>
          <a:bodyPr>
            <a:noAutofit/>
          </a:bodyPr>
          <a:lstStyle/>
          <a:p>
            <a:r>
              <a:rPr lang="en-US" sz="2600" b="0" dirty="0">
                <a:solidFill>
                  <a:schemeClr val="accent2"/>
                </a:solidFill>
                <a:effectLst/>
                <a:latin typeface="Poppins" panose="00000500000000000000" pitchFamily="2" charset="0"/>
                <a:ea typeface="Aptos" panose="020B0004020202020204" pitchFamily="34" charset="0"/>
                <a:cs typeface="Poppins" panose="00000500000000000000" pitchFamily="2" charset="0"/>
              </a:rPr>
              <a:t>China dominates capital spending</a:t>
            </a:r>
            <a:endParaRPr lang="fr-BE" sz="2600" b="0" dirty="0">
              <a:solidFill>
                <a:schemeClr val="accent2"/>
              </a:solidFill>
              <a:highlight>
                <a:srgbClr val="FFFF00"/>
              </a:highlight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271403A-F816-CF0F-91C2-A647B7E496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18033" y="919241"/>
            <a:ext cx="7098794" cy="5674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4595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315" y="290145"/>
            <a:ext cx="10306975" cy="597621"/>
          </a:xfrm>
        </p:spPr>
        <p:txBody>
          <a:bodyPr>
            <a:noAutofit/>
          </a:bodyPr>
          <a:lstStyle/>
          <a:p>
            <a:r>
              <a:rPr lang="en-GB" sz="2600" b="0" dirty="0"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U27 R&amp;I spending reaches the second highest level in 2023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CCA1C2F-F8E4-1A5D-50DB-CCE76266DE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16810" y="1058000"/>
            <a:ext cx="8007674" cy="5522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5945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2655" y="236879"/>
            <a:ext cx="9995581" cy="588744"/>
          </a:xfrm>
        </p:spPr>
        <p:txBody>
          <a:bodyPr>
            <a:noAutofit/>
          </a:bodyPr>
          <a:lstStyle/>
          <a:p>
            <a:r>
              <a:rPr lang="en-GB" sz="2600" b="0" dirty="0"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U27 is the third-largest R&amp;I investor in the world in 2023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A21B2D7-0EA2-0F28-FB64-8CD4E3B562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53071" y="983026"/>
            <a:ext cx="8723809" cy="5638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932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18130" y="299665"/>
            <a:ext cx="11082639" cy="529676"/>
          </a:xfrm>
        </p:spPr>
        <p:txBody>
          <a:bodyPr>
            <a:noAutofit/>
          </a:bodyPr>
          <a:lstStyle/>
          <a:p>
            <a:r>
              <a:rPr lang="en-GB" sz="2600" b="0" dirty="0"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ecreasing share of R&amp;I spending for the EU27, USA and Japan</a:t>
            </a:r>
            <a:endParaRPr lang="en-US" sz="2600" b="0" dirty="0">
              <a:solidFill>
                <a:schemeClr val="accent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7F20688-DC15-60DD-1C69-A6DF8CA210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69632" y="1021573"/>
            <a:ext cx="7554582" cy="5731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3204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77418E4-1C13-4BA5-9F99-F8304D2A21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41424" y="1359567"/>
            <a:ext cx="6148246" cy="2387600"/>
          </a:xfrm>
        </p:spPr>
        <p:txBody>
          <a:bodyPr>
            <a:normAutofit/>
          </a:bodyPr>
          <a:lstStyle/>
          <a:p>
            <a:r>
              <a:rPr lang="fr-BE" sz="3600" dirty="0"/>
              <a:t>7. </a:t>
            </a:r>
            <a:r>
              <a:rPr lang="fr-BE" sz="3600" dirty="0" err="1"/>
              <a:t>Environmental</a:t>
            </a:r>
            <a:r>
              <a:rPr lang="fr-BE" sz="3600" dirty="0"/>
              <a:t> Performance </a:t>
            </a:r>
            <a:endParaRPr lang="en-US" sz="3600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A0269C9-074F-4983-8AFC-40E93D3463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900" dirty="0"/>
              <a:t>The European Chemical Industry Council, AISBL – Rue </a:t>
            </a:r>
            <a:r>
              <a:rPr lang="en-US" sz="900" dirty="0" err="1"/>
              <a:t>Belliard</a:t>
            </a:r>
            <a:r>
              <a:rPr lang="en-US" sz="900" dirty="0"/>
              <a:t>, 40 - 1040 Brussels – Belgium - </a:t>
            </a:r>
            <a:r>
              <a:rPr lang="fr-BE" sz="900" dirty="0" err="1"/>
              <a:t>Transparency</a:t>
            </a:r>
            <a:r>
              <a:rPr lang="fr-BE" sz="900" dirty="0"/>
              <a:t> </a:t>
            </a:r>
            <a:r>
              <a:rPr lang="fr-BE" sz="900" dirty="0" err="1"/>
              <a:t>Register</a:t>
            </a:r>
            <a:r>
              <a:rPr lang="fr-BE" sz="900" dirty="0"/>
              <a:t> n°64879142323-90</a:t>
            </a:r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5427EE7F-0DDB-4C71-8B1A-D5C44E3C15D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56922" y="-34832"/>
            <a:ext cx="3835078" cy="6916335"/>
          </a:xfrm>
        </p:spPr>
      </p:pic>
    </p:spTree>
    <p:extLst>
      <p:ext uri="{BB962C8B-B14F-4D97-AF65-F5344CB8AC3E}">
        <p14:creationId xmlns:p14="http://schemas.microsoft.com/office/powerpoint/2010/main" val="3879549548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3258" y="217401"/>
            <a:ext cx="9781973" cy="544355"/>
          </a:xfrm>
        </p:spPr>
        <p:txBody>
          <a:bodyPr>
            <a:noAutofit/>
          </a:bodyPr>
          <a:lstStyle/>
          <a:p>
            <a:r>
              <a:rPr lang="en-US" sz="2600" b="0" dirty="0"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U27 scope 1 GHG emissions* fall 60% since 1990</a:t>
            </a:r>
            <a:endParaRPr lang="en-GB" sz="2600" b="0" dirty="0">
              <a:solidFill>
                <a:schemeClr val="accent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DCABE15-D497-5AD1-5808-3D44489C16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24642" y="840599"/>
            <a:ext cx="8304762" cy="58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0594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2664" y="188139"/>
            <a:ext cx="11969336" cy="715627"/>
          </a:xfrm>
        </p:spPr>
        <p:txBody>
          <a:bodyPr>
            <a:noAutofit/>
          </a:bodyPr>
          <a:lstStyle/>
          <a:p>
            <a:r>
              <a:rPr lang="en-GB" sz="2600" b="0" dirty="0"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U27 scope 1 GHG emissions* fall by 153 million tonnes (CO2) since 1990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ABD1738-00E3-E4DB-5E69-1B60F7D2CB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84323" y="903766"/>
            <a:ext cx="8123809" cy="5847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0773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1845" y="163307"/>
            <a:ext cx="11249056" cy="884621"/>
          </a:xfrm>
        </p:spPr>
        <p:txBody>
          <a:bodyPr>
            <a:noAutofit/>
          </a:bodyPr>
          <a:lstStyle/>
          <a:p>
            <a:r>
              <a:rPr lang="en-US" sz="2600" b="0" dirty="0"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U27 chemical production and greenhouse gas emissions decoup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7707376-0F75-39AE-84CE-77883F45BD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29845" y="1116418"/>
            <a:ext cx="7990685" cy="5497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7721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36117" y="255181"/>
            <a:ext cx="11055390" cy="786810"/>
          </a:xfrm>
        </p:spPr>
        <p:txBody>
          <a:bodyPr>
            <a:noAutofit/>
          </a:bodyPr>
          <a:lstStyle/>
          <a:p>
            <a:r>
              <a:rPr lang="en-US" sz="2600" b="0" dirty="0"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etrochemicals and specialties account for more than half of EU27 chemical sales</a:t>
            </a:r>
            <a:endParaRPr lang="fr-BE" sz="2600" b="0" dirty="0">
              <a:solidFill>
                <a:schemeClr val="accent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C6DEA6A-9AF6-A08D-1BB6-22BEBB4733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28480" y="1137684"/>
            <a:ext cx="9018748" cy="5589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3067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047" y="343412"/>
            <a:ext cx="11033705" cy="535478"/>
          </a:xfrm>
        </p:spPr>
        <p:txBody>
          <a:bodyPr>
            <a:noAutofit/>
          </a:bodyPr>
          <a:lstStyle/>
          <a:p>
            <a:r>
              <a:rPr lang="en-US" sz="2600" b="0" dirty="0"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U27 greenhouse gas intensity decreased significantly since 1990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1ED743C-4243-823B-6B13-D641A04BAB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95019" y="985091"/>
            <a:ext cx="8257143" cy="578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5611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77418E4-1C13-4BA5-9F99-F8304D2A21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40881" y="545820"/>
            <a:ext cx="3118759" cy="1370070"/>
          </a:xfrm>
        </p:spPr>
        <p:txBody>
          <a:bodyPr>
            <a:noAutofit/>
          </a:bodyPr>
          <a:lstStyle/>
          <a:p>
            <a:br>
              <a:rPr lang="en-GB" sz="1400" b="1" dirty="0"/>
            </a:br>
            <a:br>
              <a:rPr lang="en-GB" sz="1400" b="1" dirty="0"/>
            </a:br>
            <a:br>
              <a:rPr lang="en-GB" sz="1400" b="1" dirty="0"/>
            </a:br>
            <a:br>
              <a:rPr lang="en-GB" sz="1400" b="1" dirty="0"/>
            </a:br>
            <a:r>
              <a:rPr lang="en-GB" sz="1400" b="1" dirty="0"/>
              <a:t>Contact : </a:t>
            </a:r>
            <a:br>
              <a:rPr lang="en-GB" sz="1400" b="1" dirty="0"/>
            </a:br>
            <a:r>
              <a:rPr lang="en-GB" sz="1400" b="1" dirty="0"/>
              <a:t>Dr Moncef HADHRI</a:t>
            </a:r>
            <a:br>
              <a:rPr lang="en-GB" sz="1400" b="1" dirty="0"/>
            </a:br>
            <a:r>
              <a:rPr lang="en-GB" sz="1400" b="1" dirty="0"/>
              <a:t>Cefic Industrial Policy - Economic Affairs</a:t>
            </a:r>
            <a:br>
              <a:rPr lang="en-GB" sz="1400" b="1" dirty="0"/>
            </a:br>
            <a:r>
              <a:rPr lang="en-GB" sz="1400" b="1" dirty="0"/>
              <a:t>mha@cefic.be</a:t>
            </a:r>
            <a:br>
              <a:rPr lang="en-GB" sz="1400" dirty="0"/>
            </a:br>
            <a:br>
              <a:rPr lang="en-US" sz="1400" dirty="0"/>
            </a:br>
            <a:endParaRPr lang="en-US" sz="1200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A0269C9-074F-4983-8AFC-40E93D3463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900" dirty="0"/>
              <a:t>The European Chemical Industry Council, AISBL – Rue </a:t>
            </a:r>
            <a:r>
              <a:rPr lang="en-US" sz="900" dirty="0" err="1"/>
              <a:t>Belliard</a:t>
            </a:r>
            <a:r>
              <a:rPr lang="en-US" sz="900" dirty="0"/>
              <a:t>, 40 - 1040 Brussels – Belgium - </a:t>
            </a:r>
            <a:r>
              <a:rPr lang="fr-BE" sz="900" dirty="0" err="1"/>
              <a:t>Transparency</a:t>
            </a:r>
            <a:r>
              <a:rPr lang="fr-BE" sz="900" dirty="0"/>
              <a:t> </a:t>
            </a:r>
            <a:r>
              <a:rPr lang="fr-BE" sz="900" dirty="0" err="1"/>
              <a:t>Register</a:t>
            </a:r>
            <a:r>
              <a:rPr lang="fr-BE" sz="900" dirty="0"/>
              <a:t> n°64879142323-90</a:t>
            </a:r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5427EE7F-0DDB-4C71-8B1A-D5C44E3C15D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56922" y="-26124"/>
            <a:ext cx="3835078" cy="6879771"/>
          </a:xfrm>
        </p:spPr>
      </p:pic>
      <p:sp>
        <p:nvSpPr>
          <p:cNvPr id="5" name="Titre 1">
            <a:extLst>
              <a:ext uri="{FF2B5EF4-FFF2-40B4-BE49-F238E27FC236}">
                <a16:creationId xmlns:a16="http://schemas.microsoft.com/office/drawing/2014/main" id="{300EFDE8-6590-45AD-A3CC-F166D832B8DE}"/>
              </a:ext>
            </a:extLst>
          </p:cNvPr>
          <p:cNvSpPr txBox="1">
            <a:spLocks/>
          </p:cNvSpPr>
          <p:nvPr/>
        </p:nvSpPr>
        <p:spPr>
          <a:xfrm>
            <a:off x="4885519" y="3056716"/>
            <a:ext cx="3056707" cy="3255464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0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br>
              <a:rPr lang="en-US" sz="1400" dirty="0"/>
            </a:br>
            <a:br>
              <a:rPr lang="en-US" sz="1400" dirty="0"/>
            </a:br>
            <a:r>
              <a:rPr lang="en-US" sz="1200" b="1" dirty="0"/>
              <a:t>About Cefic</a:t>
            </a:r>
          </a:p>
          <a:p>
            <a:r>
              <a:rPr lang="en-US" sz="1000" dirty="0"/>
              <a:t>Cefic, the European Chemical Industry Council, founded in 1972, is the voice of large, medium and small chemical companies across Europe, which provide 1.2 million jobs and account </a:t>
            </a:r>
            <a:r>
              <a:rPr lang="en-US" sz="1000"/>
              <a:t>for 13% </a:t>
            </a:r>
            <a:r>
              <a:rPr lang="en-US" sz="1000" dirty="0"/>
              <a:t>of world chemicals production.  Cefic members form one of the most active networks of the business community, complemented by partnerships with industry associations representing various sectors in the value chain.  </a:t>
            </a:r>
            <a:r>
              <a:rPr lang="en-US" sz="1000" dirty="0">
                <a:hlinkClick r:id="rId3"/>
              </a:rPr>
              <a:t>A full list of our members </a:t>
            </a:r>
            <a:r>
              <a:rPr lang="en-US" sz="1000" dirty="0"/>
              <a:t>is available on the Cefic website.</a:t>
            </a:r>
            <a:br>
              <a:rPr lang="en-US" sz="1000" dirty="0"/>
            </a:br>
            <a:r>
              <a:rPr lang="en-US" sz="1000" dirty="0"/>
              <a:t> </a:t>
            </a:r>
            <a:br>
              <a:rPr lang="en-US" sz="1000" dirty="0"/>
            </a:br>
            <a:r>
              <a:rPr lang="en-US" sz="1000" dirty="0"/>
              <a:t>Cefic is an active member of the International Council of Chemical Associations (ICCA), which represents</a:t>
            </a:r>
            <a:br>
              <a:rPr lang="en-US" sz="1000" dirty="0"/>
            </a:br>
            <a:r>
              <a:rPr lang="en-US" sz="1000" dirty="0"/>
              <a:t>chemical manufacturers and producers all over the world and seeks to strengthen existing cooperation with global </a:t>
            </a:r>
            <a:r>
              <a:rPr lang="en-US" sz="1000" dirty="0" err="1"/>
              <a:t>organisations</a:t>
            </a:r>
            <a:r>
              <a:rPr lang="en-US" sz="1000" dirty="0"/>
              <a:t> such as UNEP and the OECD to improve chemicals management worldwide</a:t>
            </a:r>
          </a:p>
        </p:txBody>
      </p:sp>
    </p:spTree>
    <p:extLst>
      <p:ext uri="{BB962C8B-B14F-4D97-AF65-F5344CB8AC3E}">
        <p14:creationId xmlns:p14="http://schemas.microsoft.com/office/powerpoint/2010/main" val="19202727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39288" y="163432"/>
            <a:ext cx="11182098" cy="732112"/>
          </a:xfrm>
        </p:spPr>
        <p:txBody>
          <a:bodyPr>
            <a:noAutofit/>
          </a:bodyPr>
          <a:lstStyle/>
          <a:p>
            <a:r>
              <a:rPr lang="en-GB" sz="2600" b="0" dirty="0"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wo thirds of EU27 chemical sales generated in four Member States</a:t>
            </a:r>
            <a:endParaRPr lang="fr-BE" sz="2600" b="0" dirty="0">
              <a:solidFill>
                <a:schemeClr val="accent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5BC2688-7DF2-C577-A67E-3855F2CEDA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7281" y="930961"/>
            <a:ext cx="8436686" cy="5763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0129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73741" y="352290"/>
            <a:ext cx="11180294" cy="615377"/>
          </a:xfrm>
        </p:spPr>
        <p:txBody>
          <a:bodyPr>
            <a:noAutofit/>
          </a:bodyPr>
          <a:lstStyle/>
          <a:p>
            <a:r>
              <a:rPr lang="en-US" sz="2600" b="0" dirty="0"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U27 chemical sales significantly decreased in 2023 vs 2022</a:t>
            </a:r>
            <a:endParaRPr lang="fr-BE" sz="2600" b="0" dirty="0">
              <a:solidFill>
                <a:schemeClr val="accent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B06AA24-7505-0D38-740E-95D19CED51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72713" y="967667"/>
            <a:ext cx="9134271" cy="5615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1791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77110" y="269219"/>
            <a:ext cx="11037780" cy="560121"/>
          </a:xfrm>
        </p:spPr>
        <p:txBody>
          <a:bodyPr>
            <a:noAutofit/>
          </a:bodyPr>
          <a:lstStyle/>
          <a:p>
            <a:r>
              <a:rPr lang="en-US" sz="2600" b="0" dirty="0">
                <a:solidFill>
                  <a:schemeClr val="accent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One third of EU27 chemical sales is generated from exports</a:t>
            </a:r>
            <a:endParaRPr lang="fr-BE" sz="2600" b="0" dirty="0">
              <a:solidFill>
                <a:schemeClr val="accent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73D35E6-3619-26B4-D6C4-8510D80DCA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4974" y="946300"/>
            <a:ext cx="8470722" cy="5579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0344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cefic2021">
      <a:dk1>
        <a:sysClr val="windowText" lastClr="000000"/>
      </a:dk1>
      <a:lt1>
        <a:sysClr val="window" lastClr="FFFFFF"/>
      </a:lt1>
      <a:dk2>
        <a:srgbClr val="69747A"/>
      </a:dk2>
      <a:lt2>
        <a:srgbClr val="FFFFFF"/>
      </a:lt2>
      <a:accent1>
        <a:srgbClr val="5BBAA5"/>
      </a:accent1>
      <a:accent2>
        <a:srgbClr val="005CAB"/>
      </a:accent2>
      <a:accent3>
        <a:srgbClr val="F47B20"/>
      </a:accent3>
      <a:accent4>
        <a:srgbClr val="59A18C"/>
      </a:accent4>
      <a:accent5>
        <a:srgbClr val="0076C0"/>
      </a:accent5>
      <a:accent6>
        <a:srgbClr val="79B778"/>
      </a:accent6>
      <a:hlink>
        <a:srgbClr val="92C039"/>
      </a:hlink>
      <a:folHlink>
        <a:srgbClr val="92C039"/>
      </a:folHlink>
    </a:clrScheme>
    <a:fontScheme name="Personnalisé 10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I_Requested__x0020_manual_classification xmlns="063f955d-52cd-40b2-80f5-70171ea2be06">false</AI_Requested__x0020_manual_classification>
    <e88422c06c974aee9bbadae853be99f3 xmlns="063f955d-52cd-40b2-80f5-70171ea2be06">
      <Terms xmlns="http://schemas.microsoft.com/office/infopath/2007/PartnerControls">
        <TermInfo xmlns="http://schemas.microsoft.com/office/infopath/2007/PartnerControls">
          <TermName xmlns="http://schemas.microsoft.com/office/infopath/2007/PartnerControls">NA</TermName>
          <TermId xmlns="http://schemas.microsoft.com/office/infopath/2007/PartnerControls">3fbde490-865b-454f-b890-2db0972ec210</TermId>
        </TermInfo>
      </Terms>
    </e88422c06c974aee9bbadae853be99f3>
    <f56f3b9b03444df3b2ef6aaf7c0cbaa6 xmlns="063f955d-52cd-40b2-80f5-70171ea2be06">
      <Terms xmlns="http://schemas.microsoft.com/office/infopath/2007/PartnerControls"/>
    </f56f3b9b03444df3b2ef6aaf7c0cbaa6>
    <AI_Waiting_for_auto_classification xmlns="063f955d-52cd-40b2-80f5-70171ea2be06">false</AI_Waiting_for_auto_classification>
    <TaxCatchAll xmlns="063f955d-52cd-40b2-80f5-70171ea2be06">
      <Value>10</Value>
      <Value>9</Value>
      <Value>8</Value>
      <Value>7</Value>
    </TaxCatchAll>
    <AI_Labelling_error xmlns="063f955d-52cd-40b2-80f5-70171ea2be06">false</AI_Labelling_error>
    <i3815fca76db49ac95ea420f7cf911c6 xmlns="063f955d-52cd-40b2-80f5-70171ea2be06">
      <Terms xmlns="http://schemas.microsoft.com/office/infopath/2007/PartnerControls">
        <TermInfo xmlns="http://schemas.microsoft.com/office/infopath/2007/PartnerControls">
          <TermName xmlns="http://schemas.microsoft.com/office/infopath/2007/PartnerControls">3 - Internal use only</TermName>
          <TermId xmlns="http://schemas.microsoft.com/office/infopath/2007/PartnerControls">444dad51-745a-4285-abc9-4365fac0ec25</TermId>
        </TermInfo>
      </Terms>
    </i3815fca76db49ac95ea420f7cf911c6>
    <c48dca2c4d3f41848d6c6bfa73049c67 xmlns="063f955d-52cd-40b2-80f5-70171ea2be06">
      <Terms xmlns="http://schemas.microsoft.com/office/infopath/2007/PartnerControls">
        <TermInfo xmlns="http://schemas.microsoft.com/office/infopath/2007/PartnerControls">
          <TermName xmlns="http://schemas.microsoft.com/office/infopath/2007/PartnerControls">NA</TermName>
          <TermId xmlns="http://schemas.microsoft.com/office/infopath/2007/PartnerControls">985ce182-55de-4937-95b7-506adedf733b</TermId>
        </TermInfo>
      </Terms>
    </c48dca2c4d3f41848d6c6bfa73049c67>
    <jdb7fc4e974a45188d91caad41c9ef17 xmlns="063f955d-52cd-40b2-80f5-70171ea2be06">
      <Terms xmlns="http://schemas.microsoft.com/office/infopath/2007/PartnerControls"/>
    </jdb7fc4e974a45188d91caad41c9ef17>
    <mf725ba62fce447fb9bbcc06eaaae514 xmlns="063f955d-52cd-40b2-80f5-70171ea2be06">
      <Terms xmlns="http://schemas.microsoft.com/office/infopath/2007/PartnerControls">
        <TermInfo xmlns="http://schemas.microsoft.com/office/infopath/2007/PartnerControls">
          <TermName xmlns="http://schemas.microsoft.com/office/infopath/2007/PartnerControls">Being worked on</TermName>
          <TermId xmlns="http://schemas.microsoft.com/office/infopath/2007/PartnerControls">61239119-fb6b-4477-99a9-0d9e8dd1a49e</TermId>
        </TermInfo>
      </Terms>
    </mf725ba62fce447fb9bbcc06eaaae514>
    <AI_Classification_has_been_requested xmlns="063f955d-52cd-40b2-80f5-70171ea2be06">false</AI_Classification_has_been_requested>
    <Document_comments xmlns="063f955d-52cd-40b2-80f5-70171ea2be06" xsi:nil="true"/>
    <AI_Cluster xmlns="063f955d-52cd-40b2-80f5-70171ea2be06" xsi:nil="true"/>
    <AI_Initial_directory xmlns="063f955d-52cd-40b2-80f5-70171ea2be06" xsi:nil="true"/>
    <AI__x0025__Relevance_B xmlns="063f955d-52cd-40b2-80f5-70171ea2be06" xsi:nil="true"/>
    <Expiration_date xmlns="063f955d-52cd-40b2-80f5-70171ea2be06" xsi:nil="true"/>
    <AI_SHP_Reference xmlns="063f955d-52cd-40b2-80f5-70171ea2be06">20231020-00012</AI_SHP_Reference>
    <AI_Duplicate_status xmlns="063f955d-52cd-40b2-80f5-70171ea2be06" xsi:nil="true"/>
    <Context xmlns="063f955d-52cd-40b2-80f5-70171ea2be06" xsi:nil="true"/>
    <AI__x0025__Relevance_A xmlns="063f955d-52cd-40b2-80f5-70171ea2be06" xsi:nil="true"/>
    <AI_Batch_reference xmlns="063f955d-52cd-40b2-80f5-70171ea2be06" xsi:nil="true"/>
    <Doc_Language xmlns="063f955d-52cd-40b2-80f5-70171ea2be06" xsi:nil="true"/>
    <AI_AIDB_ID xmlns="063f955d-52cd-40b2-80f5-70171ea2be06" xsi:nil="true"/>
    <AI_Classification_B xmlns="063f955d-52cd-40b2-80f5-70171ea2be06" xsi:nil="true"/>
    <AI_AIDB_status_TXT xmlns="063f955d-52cd-40b2-80f5-70171ea2be06" xsi:nil="true"/>
    <AI_Classification_A xmlns="063f955d-52cd-40b2-80f5-70171ea2be06" xsi:nil="true"/>
    <AI__x0025__Duplicate_candidate xmlns="063f955d-52cd-40b2-80f5-70171ea2be06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CEFIC_Doc" ma:contentTypeID="0x010100CC1452B3D32F8440B544A8D906354C2B00891CC1E628F8694CBBE43AF155309C0A" ma:contentTypeVersion="53" ma:contentTypeDescription="" ma:contentTypeScope="" ma:versionID="8458508cf8d61fcad9c227b2bc53f731">
  <xsd:schema xmlns:xsd="http://www.w3.org/2001/XMLSchema" xmlns:xs="http://www.w3.org/2001/XMLSchema" xmlns:p="http://schemas.microsoft.com/office/2006/metadata/properties" xmlns:ns2="063f955d-52cd-40b2-80f5-70171ea2be06" targetNamespace="http://schemas.microsoft.com/office/2006/metadata/properties" ma:root="true" ma:fieldsID="e2817aa0e95294708cc7476f5830c4bd" ns2:_="">
    <xsd:import namespace="063f955d-52cd-40b2-80f5-70171ea2be06"/>
    <xsd:element name="properties">
      <xsd:complexType>
        <xsd:sequence>
          <xsd:element name="documentManagement">
            <xsd:complexType>
              <xsd:all>
                <xsd:element ref="ns2:mf725ba62fce447fb9bbcc06eaaae514" minOccurs="0"/>
                <xsd:element ref="ns2:TaxCatchAll" minOccurs="0"/>
                <xsd:element ref="ns2:TaxCatchAllLabel" minOccurs="0"/>
                <xsd:element ref="ns2:c48dca2c4d3f41848d6c6bfa73049c67" minOccurs="0"/>
                <xsd:element ref="ns2:Document_comments" minOccurs="0"/>
                <xsd:element ref="ns2:Expiration_date" minOccurs="0"/>
                <xsd:element ref="ns2:AI__x0025__Duplicate_candidate" minOccurs="0"/>
                <xsd:element ref="ns2:AI__x0025__Relevance_A" minOccurs="0"/>
                <xsd:element ref="ns2:AI__x0025__Relevance_B" minOccurs="0"/>
                <xsd:element ref="ns2:AI_Batch_reference" minOccurs="0"/>
                <xsd:element ref="ns2:AI_Classification_A" minOccurs="0"/>
                <xsd:element ref="ns2:AI_Classification_B" minOccurs="0"/>
                <xsd:element ref="ns2:AI_Classification_has_been_requested" minOccurs="0"/>
                <xsd:element ref="ns2:AI_Cluster" minOccurs="0"/>
                <xsd:element ref="ns2:AI_Duplicate_status" minOccurs="0"/>
                <xsd:element ref="ns2:AI_Initial_directory" minOccurs="0"/>
                <xsd:element ref="ns2:AI_Labelling_error" minOccurs="0"/>
                <xsd:element ref="ns2:f56f3b9b03444df3b2ef6aaf7c0cbaa6" minOccurs="0"/>
                <xsd:element ref="ns2:AI_Requested__x0020_manual_classification" minOccurs="0"/>
                <xsd:element ref="ns2:AI_SHP_Reference" minOccurs="0"/>
                <xsd:element ref="ns2:AI_Waiting_for_auto_classification" minOccurs="0"/>
                <xsd:element ref="ns2:i3815fca76db49ac95ea420f7cf911c6" minOccurs="0"/>
                <xsd:element ref="ns2:e88422c06c974aee9bbadae853be99f3" minOccurs="0"/>
                <xsd:element ref="ns2:Context" minOccurs="0"/>
                <xsd:element ref="ns2:Doc_Language" minOccurs="0"/>
                <xsd:element ref="ns2:AI_AIDB_status_TXT" minOccurs="0"/>
                <xsd:element ref="ns2:jdb7fc4e974a45188d91caad41c9ef17" minOccurs="0"/>
                <xsd:element ref="ns2:AI_AIDB_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3f955d-52cd-40b2-80f5-70171ea2be06" elementFormDefault="qualified">
    <xsd:import namespace="http://schemas.microsoft.com/office/2006/documentManagement/types"/>
    <xsd:import namespace="http://schemas.microsoft.com/office/infopath/2007/PartnerControls"/>
    <xsd:element name="mf725ba62fce447fb9bbcc06eaaae514" ma:index="8" ma:taxonomy="true" ma:internalName="mf725ba62fce447fb9bbcc06eaaae514" ma:taxonomyFieldName="Document_status" ma:displayName="Doc status" ma:default="7;#Being worked on|61239119-fb6b-4477-99a9-0d9e8dd1a49e" ma:fieldId="{6f725ba6-2fce-447f-b9bb-cc06eaaae514}" ma:sspId="51ab7c41-b059-4fba-bc0c-4efa77139169" ma:termSetId="20c9d287-53e8-4803-b29d-4667889bb30a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41e4a6c7-ffa3-4f74-9dc2-2d528674baa1}" ma:internalName="TaxCatchAll" ma:showField="CatchAllData" ma:web="4c0c3a75-ac74-4d90-8478-8c4d54dc6da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41e4a6c7-ffa3-4f74-9dc2-2d528674baa1}" ma:internalName="TaxCatchAllLabel" ma:readOnly="true" ma:showField="CatchAllDataLabel" ma:web="4c0c3a75-ac74-4d90-8478-8c4d54dc6da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c48dca2c4d3f41848d6c6bfa73049c67" ma:index="12" ma:taxonomy="true" ma:internalName="c48dca2c4d3f41848d6c6bfa73049c67" ma:taxonomyFieldName="Document_Type" ma:displayName="Doc type" ma:readOnly="false" ma:default="9;#NA|985ce182-55de-4937-95b7-506adedf733b" ma:fieldId="{c48dca2c-4d3f-4184-8d6c-6bfa73049c67}" ma:sspId="51ab7c41-b059-4fba-bc0c-4efa77139169" ma:termSetId="1e542667-cb91-40c1-95af-574bb1f275f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Document_comments" ma:index="14" nillable="true" ma:displayName="Doc comments" ma:internalName="Document_comments">
      <xsd:simpleType>
        <xsd:restriction base="dms:Note">
          <xsd:maxLength value="255"/>
        </xsd:restriction>
      </xsd:simpleType>
    </xsd:element>
    <xsd:element name="Expiration_date" ma:index="15" nillable="true" ma:displayName="Expiration date" ma:format="DateOnly" ma:internalName="Expiration_date">
      <xsd:simpleType>
        <xsd:restriction base="dms:DateTime"/>
      </xsd:simpleType>
    </xsd:element>
    <xsd:element name="AI__x0025__Duplicate_candidate" ma:index="16" nillable="true" ma:displayName="AI_%_Duplicate_candidate" ma:internalName="AI__x0025__Duplicate_candidate">
      <xsd:simpleType>
        <xsd:restriction base="dms:Text">
          <xsd:maxLength value="255"/>
        </xsd:restriction>
      </xsd:simpleType>
    </xsd:element>
    <xsd:element name="AI__x0025__Relevance_A" ma:index="17" nillable="true" ma:displayName="AI_%_Relevance_A" ma:internalName="AI__x0025__Relevance_A" ma:percentage="TRUE">
      <xsd:simpleType>
        <xsd:restriction base="dms:Number">
          <xsd:maxInclusive value="1.00"/>
        </xsd:restriction>
      </xsd:simpleType>
    </xsd:element>
    <xsd:element name="AI__x0025__Relevance_B" ma:index="18" nillable="true" ma:displayName="AI_%_Relevance_B" ma:internalName="AI__x0025__Relevance_B" ma:percentage="TRUE">
      <xsd:simpleType>
        <xsd:restriction base="dms:Number">
          <xsd:maxInclusive value="1.00"/>
        </xsd:restriction>
      </xsd:simpleType>
    </xsd:element>
    <xsd:element name="AI_Batch_reference" ma:index="19" nillable="true" ma:displayName="AI_Batch_reference" ma:internalName="AI_Batch_reference">
      <xsd:simpleType>
        <xsd:restriction base="dms:Text">
          <xsd:maxLength value="255"/>
        </xsd:restriction>
      </xsd:simpleType>
    </xsd:element>
    <xsd:element name="AI_Classification_A" ma:index="20" nillable="true" ma:displayName="AI_Classification_A" ma:internalName="AI_Classification_A">
      <xsd:simpleType>
        <xsd:restriction base="dms:Text">
          <xsd:maxLength value="255"/>
        </xsd:restriction>
      </xsd:simpleType>
    </xsd:element>
    <xsd:element name="AI_Classification_B" ma:index="21" nillable="true" ma:displayName="AI_Classification_B" ma:internalName="AI_Classification_B">
      <xsd:simpleType>
        <xsd:restriction base="dms:Text">
          <xsd:maxLength value="255"/>
        </xsd:restriction>
      </xsd:simpleType>
    </xsd:element>
    <xsd:element name="AI_Classification_has_been_requested" ma:index="22" nillable="true" ma:displayName="AI_Classification_has_been_requested" ma:default="0" ma:internalName="AI_Classification_has_been_requested">
      <xsd:simpleType>
        <xsd:restriction base="dms:Boolean"/>
      </xsd:simpleType>
    </xsd:element>
    <xsd:element name="AI_Cluster" ma:index="23" nillable="true" ma:displayName="AI_Cluster" ma:internalName="AI_Cluster">
      <xsd:simpleType>
        <xsd:restriction base="dms:Text">
          <xsd:maxLength value="255"/>
        </xsd:restriction>
      </xsd:simpleType>
    </xsd:element>
    <xsd:element name="AI_Duplicate_status" ma:index="24" nillable="true" ma:displayName="AI_Duplicate_status" ma:internalName="AI_Duplicate_status">
      <xsd:simpleType>
        <xsd:restriction base="dms:Text">
          <xsd:maxLength value="255"/>
        </xsd:restriction>
      </xsd:simpleType>
    </xsd:element>
    <xsd:element name="AI_Initial_directory" ma:index="25" nillable="true" ma:displayName="AI_Initial_directory" ma:internalName="AI_Initial_directory">
      <xsd:simpleType>
        <xsd:restriction base="dms:Text">
          <xsd:maxLength value="255"/>
        </xsd:restriction>
      </xsd:simpleType>
    </xsd:element>
    <xsd:element name="AI_Labelling_error" ma:index="26" nillable="true" ma:displayName="AI_Labelling_error" ma:default="0" ma:internalName="AI_Labelling_error">
      <xsd:simpleType>
        <xsd:restriction base="dms:Boolean"/>
      </xsd:simpleType>
    </xsd:element>
    <xsd:element name="f56f3b9b03444df3b2ef6aaf7c0cbaa6" ma:index="27" nillable="true" ma:taxonomy="true" ma:internalName="f56f3b9b03444df3b2ef6aaf7c0cbaa6" ma:taxonomyFieldName="AI_Normalisation_status" ma:displayName="AI_Normalisation_status" ma:default="" ma:fieldId="{f56f3b9b-0344-4df3-b2ef-6aaf7c0cbaa6}" ma:sspId="51ab7c41-b059-4fba-bc0c-4efa77139169" ma:termSetId="a566f7a0-90fb-4cfd-a025-f7a3da074993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AI_Requested__x0020_manual_classification" ma:index="29" nillable="true" ma:displayName="AI_Requested_ manual_classification" ma:default="0" ma:internalName="AI_Requested__x0020_manual_classification">
      <xsd:simpleType>
        <xsd:restriction base="dms:Boolean"/>
      </xsd:simpleType>
    </xsd:element>
    <xsd:element name="AI_SHP_Reference" ma:index="30" nillable="true" ma:displayName="AI_SHP_Reference" ma:hidden="true" ma:internalName="AI_SHP_Reference" ma:readOnly="false">
      <xsd:simpleType>
        <xsd:restriction base="dms:Text">
          <xsd:maxLength value="255"/>
        </xsd:restriction>
      </xsd:simpleType>
    </xsd:element>
    <xsd:element name="AI_Waiting_for_auto_classification" ma:index="31" nillable="true" ma:displayName="AI_Waiting_for_auto_classification" ma:default="0" ma:internalName="AI_Waiting_for_auto_classification">
      <xsd:simpleType>
        <xsd:restriction base="dms:Boolean"/>
      </xsd:simpleType>
    </xsd:element>
    <xsd:element name="i3815fca76db49ac95ea420f7cf911c6" ma:index="32" ma:taxonomy="true" ma:internalName="i3815fca76db49ac95ea420f7cf911c6" ma:taxonomyFieldName="Confidentiality" ma:displayName="Confidentiality" ma:default="8;#3 - Internal use only|444dad51-745a-4285-abc9-4365fac0ec25" ma:fieldId="{23815fca-76db-49ac-95ea-420f7cf911c6}" ma:sspId="51ab7c41-b059-4fba-bc0c-4efa77139169" ma:termSetId="4ce234e3-b8ca-4796-8882-4f21ffe1b85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88422c06c974aee9bbadae853be99f3" ma:index="34" ma:taxonomy="true" ma:internalName="e88422c06c974aee9bbadae853be99f3" ma:taxonomyFieldName="GDPR" ma:displayName="GDPR" ma:readOnly="false" ma:default="10;#NA|3fbde490-865b-454f-b890-2db0972ec210" ma:fieldId="{e88422c0-6c97-4aee-9bba-dae853be99f3}" ma:sspId="51ab7c41-b059-4fba-bc0c-4efa77139169" ma:termSetId="a70036e0-1808-4628-8c65-155ea273b16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ontext" ma:index="36" nillable="true" ma:displayName="Context" ma:internalName="Context">
      <xsd:simpleType>
        <xsd:restriction base="dms:Note">
          <xsd:maxLength value="255"/>
        </xsd:restriction>
      </xsd:simpleType>
    </xsd:element>
    <xsd:element name="Doc_Language" ma:index="37" nillable="true" ma:displayName="Doc language" ma:internalName="Doc_Language">
      <xsd:simpleType>
        <xsd:restriction base="dms:Text">
          <xsd:maxLength value="255"/>
        </xsd:restriction>
      </xsd:simpleType>
    </xsd:element>
    <xsd:element name="AI_AIDB_status_TXT" ma:index="38" nillable="true" ma:displayName="AI_AIDB_status_TXT" ma:internalName="AI_AIDB_status_TXT">
      <xsd:simpleType>
        <xsd:restriction base="dms:Text">
          <xsd:maxLength value="255"/>
        </xsd:restriction>
      </xsd:simpleType>
    </xsd:element>
    <xsd:element name="jdb7fc4e974a45188d91caad41c9ef17" ma:index="39" nillable="true" ma:taxonomy="true" ma:internalName="jdb7fc4e974a45188d91caad41c9ef17" ma:taxonomyFieldName="AI_AIDB_status_MM" ma:displayName="AI_AIDB_status_MM" ma:default="" ma:fieldId="{3db7fc4e-974a-4518-8d91-caad41c9ef17}" ma:sspId="51ab7c41-b059-4fba-bc0c-4efa77139169" ma:termSetId="c9536394-d76c-413e-9bc5-a7e833b62c44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AI_AIDB_ID" ma:index="41" nillable="true" ma:displayName="AI_AIDB_ID" ma:internalName="AI_AIDB_ID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haredContentType xmlns="Microsoft.SharePoint.Taxonomy.ContentTypeSync" SourceId="51ab7c41-b059-4fba-bc0c-4efa77139169" ContentTypeId="0x010100CC1452B3D32F8440B544A8D906354C2B" PreviousValue="false" LastSyncTimeStamp="2022-02-24T13:33:19.327Z"/>
</file>

<file path=customXml/itemProps1.xml><?xml version="1.0" encoding="utf-8"?>
<ds:datastoreItem xmlns:ds="http://schemas.openxmlformats.org/officeDocument/2006/customXml" ds:itemID="{F17EB0DE-152B-484A-9897-BE278771188F}">
  <ds:schemaRefs>
    <ds:schemaRef ds:uri="http://schemas.microsoft.com/office/2006/metadata/properties"/>
    <ds:schemaRef ds:uri="http://schemas.microsoft.com/office/infopath/2007/PartnerControls"/>
    <ds:schemaRef ds:uri="063f955d-52cd-40b2-80f5-70171ea2be06"/>
  </ds:schemaRefs>
</ds:datastoreItem>
</file>

<file path=customXml/itemProps2.xml><?xml version="1.0" encoding="utf-8"?>
<ds:datastoreItem xmlns:ds="http://schemas.openxmlformats.org/officeDocument/2006/customXml" ds:itemID="{EEA49548-A603-4A14-9E0D-DE3869EB3E3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9FFCD54-5B58-4FCC-8DB6-C94D327E35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3f955d-52cd-40b2-80f5-70171ea2be0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2A86F4EE-CE93-45CE-AF67-3451A1BEE23E}">
  <ds:schemaRefs>
    <ds:schemaRef ds:uri="Microsoft.SharePoint.Taxonomy.ContentTypeSyn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233</Words>
  <Application>Microsoft Office PowerPoint</Application>
  <PresentationFormat>Widescreen</PresentationFormat>
  <Paragraphs>128</Paragraphs>
  <Slides>61</Slides>
  <Notes>5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1</vt:i4>
      </vt:variant>
    </vt:vector>
  </HeadingPairs>
  <TitlesOfParts>
    <vt:vector size="69" baseType="lpstr">
      <vt:lpstr>Arial</vt:lpstr>
      <vt:lpstr>Calibri</vt:lpstr>
      <vt:lpstr>Calibri Light</vt:lpstr>
      <vt:lpstr>Poppins</vt:lpstr>
      <vt:lpstr>Times New Roman</vt:lpstr>
      <vt:lpstr>Wingdings</vt:lpstr>
      <vt:lpstr>Thème Office</vt:lpstr>
      <vt:lpstr>think-cell Folie</vt:lpstr>
      <vt:lpstr>The European Chemical industry  Facts and Figures 2024</vt:lpstr>
      <vt:lpstr>1. Profile - key figures </vt:lpstr>
      <vt:lpstr>Europe is the second-largest chemical producer in the world</vt:lpstr>
      <vt:lpstr>EU27 market share dropped significantly in 10 years</vt:lpstr>
      <vt:lpstr>Over 20 years, the EU27 share of global chemical market dropped sharply</vt:lpstr>
      <vt:lpstr>Petrochemicals and specialties account for more than half of EU27 chemical sales</vt:lpstr>
      <vt:lpstr>Two thirds of EU27 chemical sales generated in four Member States</vt:lpstr>
      <vt:lpstr>EU27 chemical sales significantly decreased in 2023 vs 2022</vt:lpstr>
      <vt:lpstr>One third of EU27 chemical sales is generated from exports</vt:lpstr>
      <vt:lpstr>More than half of EU chemicals are supplied to the industry</vt:lpstr>
      <vt:lpstr>2. Trade Development </vt:lpstr>
      <vt:lpstr>EU27 chemical trade surplus bounced back to 2021 levels</vt:lpstr>
      <vt:lpstr>Petrochemicals dominates import &amp; specialty chemicals dominates export in 2023</vt:lpstr>
      <vt:lpstr>In 2023, US is the first export country for the EU27</vt:lpstr>
      <vt:lpstr>In 2023, China is the first import country for the EU27</vt:lpstr>
      <vt:lpstr>Consumer chemicals contribute most to EU27 chemical trade surplus</vt:lpstr>
      <vt:lpstr>Chemicals accounts for 9.3% of EU27 manufacturing exports</vt:lpstr>
      <vt:lpstr>Chemicals accounts for 9.9% of EU27 manufacturing imports</vt:lpstr>
      <vt:lpstr> China continues to gain share in the global chemical export</vt:lpstr>
      <vt:lpstr>3. Growth and Competitiveness </vt:lpstr>
      <vt:lpstr>EU27 chemicals output, above the previous year’s level, yet below average</vt:lpstr>
      <vt:lpstr>EU27 chemical capacity utilization remains below its long-term average</vt:lpstr>
      <vt:lpstr>PowerPoint Presentation</vt:lpstr>
      <vt:lpstr>China grows faster than the EU27 and US</vt:lpstr>
      <vt:lpstr>4. Our contribution to EU industry </vt:lpstr>
      <vt:lpstr>Top 10 sectors account for 70% of total EU27 manufacturing enterprises</vt:lpstr>
      <vt:lpstr>Consumer chemicals has the highest number of chemicals enterprises </vt:lpstr>
      <vt:lpstr>Chemicals is the fourth-largest EU27 manufacturing sector</vt:lpstr>
      <vt:lpstr>Chemicals* is the leading sector in terms of added value</vt:lpstr>
      <vt:lpstr>Petrochemicals has the highest added value in EU27 chemicals sector </vt:lpstr>
      <vt:lpstr>Chemicals* contributes 12% of EU27 manufacturing employment</vt:lpstr>
      <vt:lpstr>Consumer chemicals is the largest employer in the EU27 chemicals sector</vt:lpstr>
      <vt:lpstr>EU27 Labour productivity declines at 1.0%</vt:lpstr>
      <vt:lpstr>Chemicals* is the largest investor in EU27 manufacturing sector</vt:lpstr>
      <vt:lpstr>Petrochemicals is the largest investor in the EU27 chemicals sector</vt:lpstr>
      <vt:lpstr>5. Energy Consumption </vt:lpstr>
      <vt:lpstr>EU27 gas and electricity account for two thirds of total energy consumption</vt:lpstr>
      <vt:lpstr>EU27 energy consumption falls 30% since 1990</vt:lpstr>
      <vt:lpstr>EU27 gas consumption falls 41% since 1990</vt:lpstr>
      <vt:lpstr>EU27 electrical energy consumption falls 18% since 1990</vt:lpstr>
      <vt:lpstr>EU27 Total petroleum consumption falls 22% since 1990</vt:lpstr>
      <vt:lpstr>EU27 solid fuels consumption falls 71% since 1990</vt:lpstr>
      <vt:lpstr>EU27 Renewable energies consumption more than tripled since 2000</vt:lpstr>
      <vt:lpstr>EU27 specific energy consumption* dropped by 51% since 1990</vt:lpstr>
      <vt:lpstr>EU27 chemicals performance* is slightly higher than overall industry</vt:lpstr>
      <vt:lpstr>6. Capital and R&amp;I Spending </vt:lpstr>
      <vt:lpstr>EU27 capital spending increased in 2023 vs 2022</vt:lpstr>
      <vt:lpstr>China leads global chemicals investments</vt:lpstr>
      <vt:lpstr>Hight capital intensity in the EU27 chemical sector</vt:lpstr>
      <vt:lpstr>European capital intensity below China</vt:lpstr>
      <vt:lpstr>EU27 loses more than 50% of its investment market share vs 2003</vt:lpstr>
      <vt:lpstr>China dominates capital spending</vt:lpstr>
      <vt:lpstr>EU27 R&amp;I spending reaches the second highest level in 2023</vt:lpstr>
      <vt:lpstr>EU27 is the third-largest R&amp;I investor in the world in 2023</vt:lpstr>
      <vt:lpstr>Decreasing share of R&amp;I spending for the EU27, USA and Japan</vt:lpstr>
      <vt:lpstr>7. Environmental Performance </vt:lpstr>
      <vt:lpstr>EU27 scope 1 GHG emissions* fall 60% since 1990</vt:lpstr>
      <vt:lpstr>EU27 scope 1 GHG emissions* fall by 153 million tonnes (CO2) since 1990</vt:lpstr>
      <vt:lpstr>EU27 chemical production and greenhouse gas emissions decouple</vt:lpstr>
      <vt:lpstr>EU27 greenhouse gas intensity decreased significantly since 1990</vt:lpstr>
      <vt:lpstr>    Contact :  Dr Moncef HADHRI Cefic Industrial Policy - Economic Affairs mha@cefic.be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Gersende DE KERCHOVE</dc:creator>
  <cp:lastModifiedBy>HADHRI Moncef</cp:lastModifiedBy>
  <cp:revision>159</cp:revision>
  <cp:lastPrinted>2022-11-17T10:37:46Z</cp:lastPrinted>
  <dcterms:created xsi:type="dcterms:W3CDTF">2020-12-02T13:51:15Z</dcterms:created>
  <dcterms:modified xsi:type="dcterms:W3CDTF">2025-01-23T10:15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rder">
    <vt:lpwstr>100.000000000000</vt:lpwstr>
  </property>
  <property fmtid="{D5CDD505-2E9C-101B-9397-08002B2CF9AE}" pid="3" name="TaxKeyword">
    <vt:lpwstr/>
  </property>
  <property fmtid="{D5CDD505-2E9C-101B-9397-08002B2CF9AE}" pid="4" name="AI_AIDB_status_MM">
    <vt:lpwstr/>
  </property>
  <property fmtid="{D5CDD505-2E9C-101B-9397-08002B2CF9AE}" pid="5" name="Document_status">
    <vt:lpwstr>7;#Being worked on|61239119-fb6b-4477-99a9-0d9e8dd1a49e</vt:lpwstr>
  </property>
  <property fmtid="{D5CDD505-2E9C-101B-9397-08002B2CF9AE}" pid="6" name="Confidentiality">
    <vt:lpwstr>8;#3 - Internal use only|444dad51-745a-4285-abc9-4365fac0ec25</vt:lpwstr>
  </property>
  <property fmtid="{D5CDD505-2E9C-101B-9397-08002B2CF9AE}" pid="7" name="ContentTypeId">
    <vt:lpwstr>0x010100CC1452B3D32F8440B544A8D906354C2B00891CC1E628F8694CBBE43AF155309C0A</vt:lpwstr>
  </property>
  <property fmtid="{D5CDD505-2E9C-101B-9397-08002B2CF9AE}" pid="8" name="TaxKeywordTaxHTField">
    <vt:lpwstr/>
  </property>
  <property fmtid="{D5CDD505-2E9C-101B-9397-08002B2CF9AE}" pid="9" name="Document_Type">
    <vt:lpwstr>9;#NA|985ce182-55de-4937-95b7-506adedf733b</vt:lpwstr>
  </property>
  <property fmtid="{D5CDD505-2E9C-101B-9397-08002B2CF9AE}" pid="10" name="GDPR">
    <vt:lpwstr>10;#NA|3fbde490-865b-454f-b890-2db0972ec210</vt:lpwstr>
  </property>
  <property fmtid="{D5CDD505-2E9C-101B-9397-08002B2CF9AE}" pid="11" name="AI_Normalisation_status">
    <vt:lpwstr/>
  </property>
  <property fmtid="{D5CDD505-2E9C-101B-9397-08002B2CF9AE}" pid="12" name="MediaServiceImageTags">
    <vt:lpwstr/>
  </property>
  <property fmtid="{D5CDD505-2E9C-101B-9397-08002B2CF9AE}" pid="13" name="lcf76f155ced4ddcb4097134ff3c332f">
    <vt:lpwstr/>
  </property>
  <property fmtid="{D5CDD505-2E9C-101B-9397-08002B2CF9AE}" pid="14" name="MSIP_Label_a31278c8-9e0c-4164-90a5-45ac4b30bdbb_Enabled">
    <vt:lpwstr>true</vt:lpwstr>
  </property>
  <property fmtid="{D5CDD505-2E9C-101B-9397-08002B2CF9AE}" pid="15" name="MSIP_Label_a31278c8-9e0c-4164-90a5-45ac4b30bdbb_SetDate">
    <vt:lpwstr>2023-10-20T09:09:02Z</vt:lpwstr>
  </property>
  <property fmtid="{D5CDD505-2E9C-101B-9397-08002B2CF9AE}" pid="16" name="MSIP_Label_a31278c8-9e0c-4164-90a5-45ac4b30bdbb_Method">
    <vt:lpwstr>Standard</vt:lpwstr>
  </property>
  <property fmtid="{D5CDD505-2E9C-101B-9397-08002B2CF9AE}" pid="17" name="MSIP_Label_a31278c8-9e0c-4164-90a5-45ac4b30bdbb_Name">
    <vt:lpwstr>Public</vt:lpwstr>
  </property>
  <property fmtid="{D5CDD505-2E9C-101B-9397-08002B2CF9AE}" pid="18" name="MSIP_Label_a31278c8-9e0c-4164-90a5-45ac4b30bdbb_SiteId">
    <vt:lpwstr>2aa31c1f-01c3-45fb-ac5d-93315bf8649e</vt:lpwstr>
  </property>
  <property fmtid="{D5CDD505-2E9C-101B-9397-08002B2CF9AE}" pid="19" name="MSIP_Label_a31278c8-9e0c-4164-90a5-45ac4b30bdbb_ActionId">
    <vt:lpwstr>bcef0302-ca85-4c07-94b5-87095f438109</vt:lpwstr>
  </property>
  <property fmtid="{D5CDD505-2E9C-101B-9397-08002B2CF9AE}" pid="20" name="MSIP_Label_a31278c8-9e0c-4164-90a5-45ac4b30bdbb_ContentBits">
    <vt:lpwstr>0</vt:lpwstr>
  </property>
</Properties>
</file>